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sldIdLst>
    <p:sldId id="256" r:id="rId2"/>
    <p:sldId id="286" r:id="rId3"/>
    <p:sldId id="278" r:id="rId4"/>
    <p:sldId id="287" r:id="rId5"/>
    <p:sldId id="288" r:id="rId6"/>
    <p:sldId id="289" r:id="rId7"/>
    <p:sldId id="290" r:id="rId8"/>
    <p:sldId id="291" r:id="rId9"/>
    <p:sldId id="292" r:id="rId10"/>
  </p:sldIdLst>
  <p:sldSz cx="12192000" cy="6858000"/>
  <p:notesSz cx="6810375" cy="9942513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05">
          <p15:clr>
            <a:srgbClr val="A4A3A4"/>
          </p15:clr>
        </p15:guide>
        <p15:guide id="4" orient="horz" pos="2455">
          <p15:clr>
            <a:srgbClr val="A4A3A4"/>
          </p15:clr>
        </p15:guide>
        <p15:guide id="5" orient="horz" pos="1150">
          <p15:clr>
            <a:srgbClr val="A4A3A4"/>
          </p15:clr>
        </p15:guide>
        <p15:guide id="6" orient="horz" pos="2365">
          <p15:clr>
            <a:srgbClr val="A4A3A4"/>
          </p15:clr>
        </p15:guide>
        <p15:guide id="7" orient="horz" pos="3946">
          <p15:clr>
            <a:srgbClr val="A4A3A4"/>
          </p15:clr>
        </p15:guide>
        <p15:guide id="8" orient="horz" pos="925">
          <p15:clr>
            <a:srgbClr val="A4A3A4"/>
          </p15:clr>
        </p15:guide>
        <p15:guide id="9" orient="horz" pos="3986">
          <p15:clr>
            <a:srgbClr val="A4A3A4"/>
          </p15:clr>
        </p15:guide>
        <p15:guide id="10" orient="horz" pos="2409">
          <p15:clr>
            <a:srgbClr val="A4A3A4"/>
          </p15:clr>
        </p15:guide>
        <p15:guide id="11" pos="270">
          <p15:clr>
            <a:srgbClr val="A4A3A4"/>
          </p15:clr>
        </p15:guide>
        <p15:guide id="12" pos="7409">
          <p15:clr>
            <a:srgbClr val="A4A3A4"/>
          </p15:clr>
        </p15:guide>
        <p15:guide id="13" pos="1857">
          <p15:clr>
            <a:srgbClr val="A4A3A4"/>
          </p15:clr>
        </p15:guide>
        <p15:guide id="14" pos="3445">
          <p15:clr>
            <a:srgbClr val="A4A3A4"/>
          </p15:clr>
        </p15:guide>
        <p15:guide id="15" pos="3795">
          <p15:clr>
            <a:srgbClr val="A4A3A4"/>
          </p15:clr>
        </p15:guide>
        <p15:guide id="16" pos="3886">
          <p15:clr>
            <a:srgbClr val="A4A3A4"/>
          </p15:clr>
        </p15:guide>
        <p15:guide id="17" pos="3841">
          <p15:clr>
            <a:srgbClr val="A4A3A4"/>
          </p15:clr>
        </p15:guide>
        <p15:guide id="18" pos="5823">
          <p15:clr>
            <a:srgbClr val="A4A3A4"/>
          </p15:clr>
        </p15:guide>
        <p15:guide id="19" pos="4234">
          <p15:clr>
            <a:srgbClr val="A4A3A4"/>
          </p15:clr>
        </p15:guide>
        <p15:guide id="20" pos="1835">
          <p15:clr>
            <a:srgbClr val="A4A3A4"/>
          </p15:clr>
        </p15:guide>
        <p15:guide id="21" pos="5799">
          <p15:clr>
            <a:srgbClr val="A4A3A4"/>
          </p15:clr>
        </p15:guide>
        <p15:guide id="22" pos="5844">
          <p15:clr>
            <a:srgbClr val="A4A3A4"/>
          </p15:clr>
        </p15:guide>
        <p15:guide id="23" pos="18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770"/>
    <a:srgbClr val="9293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315" autoAdjust="0"/>
    <p:restoredTop sz="94556" autoAdjust="0"/>
  </p:normalViewPr>
  <p:slideViewPr>
    <p:cSldViewPr snapToGrid="0" showGuides="1">
      <p:cViewPr varScale="1">
        <p:scale>
          <a:sx n="106" d="100"/>
          <a:sy n="106" d="100"/>
        </p:scale>
        <p:origin x="1194" y="78"/>
      </p:cViewPr>
      <p:guideLst>
        <p:guide orient="horz" pos="2160"/>
        <p:guide pos="3840"/>
        <p:guide orient="horz" pos="1105"/>
        <p:guide orient="horz" pos="2455"/>
        <p:guide orient="horz" pos="1150"/>
        <p:guide orient="horz" pos="2365"/>
        <p:guide orient="horz" pos="3946"/>
        <p:guide orient="horz" pos="925"/>
        <p:guide orient="horz" pos="3986"/>
        <p:guide orient="horz" pos="2409"/>
        <p:guide pos="270"/>
        <p:guide pos="7409"/>
        <p:guide pos="1857"/>
        <p:guide pos="3445"/>
        <p:guide pos="3795"/>
        <p:guide pos="3886"/>
        <p:guide pos="3841"/>
        <p:guide pos="5823"/>
        <p:guide pos="4234"/>
        <p:guide pos="1835"/>
        <p:guide pos="5799"/>
        <p:guide pos="5844"/>
        <p:guide pos="1881"/>
      </p:guideLst>
    </p:cSldViewPr>
  </p:slideViewPr>
  <p:outlineViewPr>
    <p:cViewPr>
      <p:scale>
        <a:sx n="33" d="100"/>
        <a:sy n="33" d="100"/>
      </p:scale>
      <p:origin x="0" y="714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1" d="100"/>
          <a:sy n="81" d="100"/>
        </p:scale>
        <p:origin x="-4020" y="-9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72A38B-F9FA-4036-A084-652409E98F08}" type="datetimeFigureOut">
              <a:rPr lang="en-GB" smtClean="0"/>
              <a:t>02/04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62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436F85-577F-4A92-A47F-D540A2BCC8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708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7083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6596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02910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36339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6072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08693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8064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/>
          <p:nvPr userDrawn="1"/>
        </p:nvSpPr>
        <p:spPr>
          <a:xfrm>
            <a:off x="0" y="0"/>
            <a:ext cx="1220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5396731E-F78E-472E-B8C4-1551AA34A679}" type="datetime1">
              <a:rPr lang="en-GB" smtClean="0"/>
              <a:t>02/04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986931"/>
            <a:ext cx="11326813" cy="322440"/>
          </a:xfrm>
        </p:spPr>
        <p:txBody>
          <a:bodyPr/>
          <a:lstStyle>
            <a:lvl1pPr marL="0" indent="0" algn="ctr">
              <a:buFontTx/>
              <a:buNone/>
              <a:defRPr sz="1200" b="0"/>
            </a:lvl1pPr>
          </a:lstStyle>
          <a:p>
            <a:pPr lvl="0"/>
            <a:r>
              <a:rPr lang="en-GB" noProof="0" dirty="0"/>
              <a:t>Insert Day XX Month XXXX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880000" y="2349404"/>
            <a:ext cx="43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799" y="908277"/>
            <a:ext cx="11326813" cy="604837"/>
          </a:xfrm>
        </p:spPr>
        <p:txBody>
          <a:bodyPr anchor="b"/>
          <a:lstStyle>
            <a:lvl1pPr algn="ctr">
              <a:defRPr sz="18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799" y="1556556"/>
            <a:ext cx="11326813" cy="512762"/>
          </a:xfrm>
        </p:spPr>
        <p:txBody>
          <a:bodyPr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18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7880" y="3178747"/>
            <a:ext cx="4856065" cy="504000"/>
          </a:xfrm>
          <a:prstGeom prst="rect">
            <a:avLst/>
          </a:prstGeom>
        </p:spPr>
      </p:pic>
      <p:sp>
        <p:nvSpPr>
          <p:cNvPr id="15" name="Guidetext"/>
          <p:cNvSpPr>
            <a:spLocks/>
          </p:cNvSpPr>
          <p:nvPr userDrawn="1"/>
        </p:nvSpPr>
        <p:spPr bwMode="gray">
          <a:xfrm>
            <a:off x="-1733550" y="2528389"/>
            <a:ext cx="1595437" cy="4616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 drawing guides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check on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</p:txBody>
      </p:sp>
      <p:sp>
        <p:nvSpPr>
          <p:cNvPr id="16" name="Guidetext"/>
          <p:cNvSpPr>
            <a:spLocks/>
          </p:cNvSpPr>
          <p:nvPr userDrawn="1"/>
        </p:nvSpPr>
        <p:spPr bwMode="gray">
          <a:xfrm>
            <a:off x="-1733550" y="1002698"/>
            <a:ext cx="1595437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r>
              <a:rPr lang="en-GB" sz="1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layouts in the</a:t>
            </a:r>
            <a:r>
              <a:rPr lang="en-GB" sz="1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New Slides</a:t>
            </a:r>
            <a:endParaRPr lang="en-GB" sz="10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6144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,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06400" y="1754189"/>
            <a:ext cx="2444400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881200" y="1754188"/>
            <a:ext cx="2442438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Date Placeholder 13" hidden="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9998DDF-DDAF-4133-A98F-39E05370E4E9}" type="datetime1">
              <a:rPr lang="en-GB" smtClean="0"/>
              <a:t>02/04/2018</a:t>
            </a:fld>
            <a:endParaRPr lang="en-GB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868363" y="1798638"/>
            <a:ext cx="2398712" cy="3960812"/>
          </a:xfrm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6"/>
          </p:nvPr>
        </p:nvSpPr>
        <p:spPr>
          <a:xfrm>
            <a:off x="6238876" y="1798638"/>
            <a:ext cx="2398712" cy="3960812"/>
          </a:xfrm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6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27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8" name="AutoShape 4"/>
          <p:cNvSpPr>
            <a:spLocks/>
          </p:cNvSpPr>
          <p:nvPr userDrawn="1"/>
        </p:nvSpPr>
        <p:spPr bwMode="gray">
          <a:xfrm>
            <a:off x="-1648178" y="1809750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89965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3" y="1798638"/>
            <a:ext cx="5083175" cy="3960811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E29E12F-45BE-4E7C-948E-FDF1D2105AB3}" type="datetime1">
              <a:rPr lang="en-GB" smtClean="0"/>
              <a:t>02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195600" y="1754189"/>
            <a:ext cx="5130000" cy="4005262"/>
          </a:xfrm>
        </p:spPr>
        <p:txBody>
          <a:bodyPr numCol="1" spcCol="252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spcAft>
                <a:spcPts val="0"/>
              </a:spcAft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7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8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39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19" name="AutoShape 4"/>
          <p:cNvSpPr>
            <a:spLocks/>
          </p:cNvSpPr>
          <p:nvPr userDrawn="1"/>
        </p:nvSpPr>
        <p:spPr bwMode="gray">
          <a:xfrm>
            <a:off x="-1648178" y="1809750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306330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caption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3" y="1798638"/>
            <a:ext cx="5083175" cy="3535361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868363" y="5431491"/>
            <a:ext cx="5083175" cy="435909"/>
          </a:xfrm>
        </p:spPr>
        <p:txBody>
          <a:bodyPr/>
          <a:lstStyle>
            <a:lvl1pPr marL="0" indent="0">
              <a:lnSpc>
                <a:spcPct val="117000"/>
              </a:lnSpc>
              <a:spcBef>
                <a:spcPts val="0"/>
              </a:spcBef>
              <a:buNone/>
              <a:defRPr sz="1000" b="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E29E12F-45BE-4E7C-948E-FDF1D2105AB3}" type="datetime1">
              <a:rPr lang="en-GB" smtClean="0"/>
              <a:t>02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185241" y="1734093"/>
            <a:ext cx="5138397" cy="4005262"/>
          </a:xfrm>
        </p:spPr>
        <p:txBody>
          <a:bodyPr numCol="1" spcCol="252000"/>
          <a:lstStyle>
            <a:lvl1pPr marL="36000" indent="-36000">
              <a:lnSpc>
                <a:spcPct val="119000"/>
              </a:lnSpc>
              <a:spcBef>
                <a:spcPts val="0"/>
              </a:spcBef>
              <a:spcAft>
                <a:spcPts val="1200"/>
              </a:spcAft>
              <a:buSzPct val="25000"/>
              <a:buFont typeface="Adelle BS" pitchFamily="50" charset="0"/>
              <a:buChar char=" "/>
              <a:defRPr sz="1600" b="0" i="1" spc="50" baseline="0"/>
            </a:lvl1pPr>
            <a:lvl2pPr marL="50400" indent="-50400">
              <a:spcBef>
                <a:spcPts val="1800"/>
              </a:spcBef>
              <a:spcAft>
                <a:spcPts val="0"/>
              </a:spcAft>
              <a:buSzPct val="25000"/>
              <a:buFont typeface="Adelle BS" pitchFamily="50" charset="0"/>
              <a:buChar char=" "/>
              <a:defRPr sz="1200" b="1" cap="all" spc="50" baseline="0"/>
            </a:lvl2pPr>
            <a:lvl3pPr marL="50400" indent="-504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3pPr>
            <a:lvl4pPr marL="248400" indent="-190500">
              <a:spcBef>
                <a:spcPts val="1800"/>
              </a:spcBef>
              <a:defRPr sz="1200" spc="50" baseline="0"/>
            </a:lvl4pPr>
            <a:lvl5pPr marL="450000" indent="-190500">
              <a:spcBef>
                <a:spcPts val="1800"/>
              </a:spcBef>
              <a:defRPr sz="1200" spc="50" baseline="0"/>
            </a:lvl5pPr>
            <a:lvl6pPr marL="650875" indent="-190500">
              <a:spcBef>
                <a:spcPts val="1800"/>
              </a:spcBef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AutoShape 4"/>
          <p:cNvSpPr>
            <a:spLocks/>
          </p:cNvSpPr>
          <p:nvPr userDrawn="1"/>
        </p:nvSpPr>
        <p:spPr bwMode="gray">
          <a:xfrm>
            <a:off x="-1974850" y="1819503"/>
            <a:ext cx="1830387" cy="2077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or/and bulleted list</a:t>
            </a: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Manchet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Level = Regular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-6. Level = Bulleted lis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12337048" y="1754188"/>
            <a:ext cx="1647107" cy="294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600" b="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rPr>
              <a:t>Manchet</a:t>
            </a:r>
            <a:r>
              <a:rPr lang="en-GB" sz="1600" b="0" i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rPr>
              <a:t> text written here</a:t>
            </a:r>
            <a:endParaRPr lang="en-GB" sz="1600" b="0" i="1" noProof="1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0" marR="0" indent="0" algn="l" defTabSz="4572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odytext 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</p:spTree>
    <p:extLst>
      <p:ext uri="{BB962C8B-B14F-4D97-AF65-F5344CB8AC3E}">
        <p14:creationId xmlns:p14="http://schemas.microsoft.com/office/powerpoint/2010/main" val="2979307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chet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868362" y="1754189"/>
            <a:ext cx="7769225" cy="1220123"/>
          </a:xfrm>
        </p:spPr>
        <p:txBody>
          <a:bodyPr/>
          <a:lstStyle>
            <a:lvl1pPr marL="0" indent="0">
              <a:lnSpc>
                <a:spcPct val="119000"/>
              </a:lnSpc>
              <a:buFontTx/>
              <a:buNone/>
              <a:defRPr lang="en-GB" sz="1600" b="0" i="1" u="none" strike="noStrike" spc="70" baseline="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58991-706B-4B60-9D1A-67D4247515DF}" type="datetime1">
              <a:rPr lang="en-GB" smtClean="0"/>
              <a:t>02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2" y="3113357"/>
            <a:ext cx="5083175" cy="2646094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6238875" y="3087975"/>
            <a:ext cx="5084763" cy="2674607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AutoShape 4"/>
          <p:cNvSpPr>
            <a:spLocks/>
          </p:cNvSpPr>
          <p:nvPr userDrawn="1"/>
        </p:nvSpPr>
        <p:spPr bwMode="gray">
          <a:xfrm>
            <a:off x="12337048" y="3069556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24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5" name="AutoShape 4"/>
          <p:cNvSpPr>
            <a:spLocks/>
          </p:cNvSpPr>
          <p:nvPr userDrawn="1"/>
        </p:nvSpPr>
        <p:spPr bwMode="gray">
          <a:xfrm>
            <a:off x="-1648178" y="3102987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39300796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8926513" y="1754189"/>
            <a:ext cx="2397126" cy="4005262"/>
          </a:xfrm>
        </p:spPr>
        <p:txBody>
          <a:bodyPr anchor="b" anchorCtr="0"/>
          <a:lstStyle>
            <a:lvl1pPr marL="0" indent="0">
              <a:lnSpc>
                <a:spcPct val="117000"/>
              </a:lnSpc>
              <a:spcBef>
                <a:spcPts val="0"/>
              </a:spcBef>
              <a:buNone/>
              <a:defRPr sz="1200" b="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3" y="1798637"/>
            <a:ext cx="7769225" cy="3960813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F73837-93B9-4FEC-B6EE-6EA5B23AE5E0}" type="datetime1">
              <a:rPr lang="en-GB" smtClean="0"/>
              <a:t>02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</p:spTree>
    <p:extLst>
      <p:ext uri="{BB962C8B-B14F-4D97-AF65-F5344CB8AC3E}">
        <p14:creationId xmlns:p14="http://schemas.microsoft.com/office/powerpoint/2010/main" val="1599952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8926513" y="1754189"/>
            <a:ext cx="2397126" cy="4005262"/>
          </a:xfrm>
        </p:spPr>
        <p:txBody>
          <a:bodyPr anchor="t" anchorCtr="0"/>
          <a:lstStyle>
            <a:lvl1pPr marL="0" indent="0">
              <a:lnSpc>
                <a:spcPct val="117000"/>
              </a:lnSpc>
              <a:spcBef>
                <a:spcPts val="0"/>
              </a:spcBef>
              <a:buNone/>
              <a:defRPr sz="1200" b="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3" y="1798637"/>
            <a:ext cx="7769225" cy="3960813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F73837-93B9-4FEC-B6EE-6EA5B23AE5E0}" type="datetime1">
              <a:rPr lang="en-GB" smtClean="0"/>
              <a:t>02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</p:spTree>
    <p:extLst>
      <p:ext uri="{BB962C8B-B14F-4D97-AF65-F5344CB8AC3E}">
        <p14:creationId xmlns:p14="http://schemas.microsoft.com/office/powerpoint/2010/main" val="30281071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C292FF-328A-4A23-8B23-1AAF91CB0E37}" type="datetime1">
              <a:rPr lang="en-GB" smtClean="0"/>
              <a:t>02/04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</p:spTree>
    <p:extLst>
      <p:ext uri="{BB962C8B-B14F-4D97-AF65-F5344CB8AC3E}">
        <p14:creationId xmlns:p14="http://schemas.microsoft.com/office/powerpoint/2010/main" val="9452567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38"/>
            <a:ext cx="12240000" cy="6858038"/>
          </a:xfrm>
          <a:prstGeom prst="rect">
            <a:avLst/>
          </a:prstGeom>
          <a:solidFill>
            <a:srgbClr val="9293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332BF737-3C4C-4ABF-A6E2-16A4835A99EE}" type="datetime1">
              <a:rPr lang="en-GB" smtClean="0"/>
              <a:t>02/04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064" y="3178747"/>
            <a:ext cx="4856065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2698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38"/>
            <a:ext cx="12189600" cy="6858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998DDF-DDAF-4133-A98F-39E05370E4E9}" type="datetime1">
              <a:rPr lang="en-GB" smtClean="0"/>
              <a:t>02/04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5585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31801" y="161528"/>
            <a:ext cx="10891838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868363" y="1744762"/>
            <a:ext cx="10455275" cy="4005262"/>
          </a:xfrm>
        </p:spPr>
        <p:txBody>
          <a:bodyPr/>
          <a:lstStyle>
            <a:lvl1pPr>
              <a:spcBef>
                <a:spcPts val="2000"/>
              </a:spcBef>
              <a:defRPr sz="1400" baseline="0"/>
            </a:lvl1pPr>
            <a:lvl2pPr>
              <a:defRPr sz="1400" baseline="0"/>
            </a:lvl2pPr>
            <a:lvl3pPr>
              <a:defRPr sz="1400" baseline="0"/>
            </a:lvl3pPr>
            <a:lvl4pPr>
              <a:defRPr sz="1400" baseline="0"/>
            </a:lvl4pPr>
            <a:lvl5pPr>
              <a:defRPr sz="14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6209A0-71F7-44B6-96D7-5D458705F9C2}" type="datetime1">
              <a:rPr lang="en-GB" smtClean="0"/>
              <a:t>02/04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12" name="AutoShape 4"/>
          <p:cNvSpPr>
            <a:spLocks/>
          </p:cNvSpPr>
          <p:nvPr userDrawn="1"/>
        </p:nvSpPr>
        <p:spPr bwMode="gray">
          <a:xfrm>
            <a:off x="-1659467" y="2326223"/>
            <a:ext cx="1515004" cy="200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 bulleted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</a:t>
            </a:r>
            <a:endParaRPr lang="en-GB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 to fifth level = 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 bulleted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  <p:sp>
        <p:nvSpPr>
          <p:cNvPr id="13" name="Text Placeholder 2"/>
          <p:cNvSpPr txBox="1">
            <a:spLocks/>
          </p:cNvSpPr>
          <p:nvPr userDrawn="1"/>
        </p:nvSpPr>
        <p:spPr>
          <a:xfrm>
            <a:off x="12277620" y="1754188"/>
            <a:ext cx="2054830" cy="4005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000" spc="0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– bullets:</a:t>
            </a:r>
            <a:endParaRPr lang="da-DK" noProof="1"/>
          </a:p>
          <a:p>
            <a:endParaRPr lang="da-DK" noProof="1"/>
          </a:p>
          <a:p>
            <a:pPr marL="190800" indent="-190800">
              <a:buFont typeface="Arial Black" panose="020B0A04020102020204" pitchFamily="34" charset="0"/>
              <a:buChar char="-"/>
            </a:pPr>
            <a:r>
              <a:rPr lang="da-DK" noProof="1"/>
              <a:t>First level = Bulleted list in bold text</a:t>
            </a:r>
          </a:p>
          <a:p>
            <a:pPr lvl="1"/>
            <a:r>
              <a:rPr lang="da-DK" noProof="1"/>
              <a:t>Use TAB-key for second level = regular bulleted list</a:t>
            </a:r>
          </a:p>
          <a:p>
            <a:pPr lvl="2"/>
            <a:r>
              <a:rPr lang="da-DK" noProof="1"/>
              <a:t>Third level</a:t>
            </a:r>
          </a:p>
          <a:p>
            <a:pPr lvl="3"/>
            <a:r>
              <a:rPr lang="da-DK" noProof="1"/>
              <a:t>Fourth level</a:t>
            </a:r>
          </a:p>
          <a:p>
            <a:pPr lvl="4"/>
            <a:r>
              <a:rPr lang="da-DK" noProof="1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/>
          <p:nvPr userDrawn="1"/>
        </p:nvSpPr>
        <p:spPr>
          <a:xfrm>
            <a:off x="0" y="0"/>
            <a:ext cx="12240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799" y="2661701"/>
            <a:ext cx="11326813" cy="604837"/>
          </a:xfrm>
        </p:spPr>
        <p:txBody>
          <a:bodyPr anchor="b"/>
          <a:lstStyle>
            <a:lvl1pPr algn="ctr">
              <a:defRPr sz="3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799" y="3297229"/>
            <a:ext cx="11326813" cy="512762"/>
          </a:xfrm>
        </p:spPr>
        <p:txBody>
          <a:bodyPr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30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60E84820-AE3B-4F40-91D8-38E6F87297BA}" type="datetime1">
              <a:rPr lang="en-GB" smtClean="0"/>
              <a:t>02/04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8740" y="1213229"/>
            <a:ext cx="2095200" cy="217456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986800"/>
            <a:ext cx="11326813" cy="322440"/>
          </a:xfrm>
        </p:spPr>
        <p:txBody>
          <a:bodyPr/>
          <a:lstStyle>
            <a:lvl1pPr marL="0" indent="0" algn="ctr">
              <a:buFontTx/>
              <a:buNone/>
              <a:defRPr sz="1200" b="0"/>
            </a:lvl1pPr>
          </a:lstStyle>
          <a:p>
            <a:pPr lvl="0"/>
            <a:r>
              <a:rPr lang="en-GB" noProof="0" dirty="0"/>
              <a:t>Insert Day XX Month XXXX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880000" y="2163130"/>
            <a:ext cx="43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Guidetext"/>
          <p:cNvSpPr>
            <a:spLocks/>
          </p:cNvSpPr>
          <p:nvPr userDrawn="1"/>
        </p:nvSpPr>
        <p:spPr bwMode="gray">
          <a:xfrm>
            <a:off x="-1733550" y="2528389"/>
            <a:ext cx="1595437" cy="4616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 drawing guides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check on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</p:txBody>
      </p:sp>
      <p:sp>
        <p:nvSpPr>
          <p:cNvPr id="17" name="Guidetext"/>
          <p:cNvSpPr>
            <a:spLocks/>
          </p:cNvSpPr>
          <p:nvPr userDrawn="1"/>
        </p:nvSpPr>
        <p:spPr bwMode="gray">
          <a:xfrm>
            <a:off x="-1733550" y="1002698"/>
            <a:ext cx="1595437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r>
              <a:rPr lang="en-GB" sz="1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layouts in the</a:t>
            </a:r>
            <a:r>
              <a:rPr lang="en-GB" sz="1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New Slides</a:t>
            </a:r>
            <a:endParaRPr lang="en-GB" sz="10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23383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/>
          <p:nvPr userDrawn="1"/>
        </p:nvSpPr>
        <p:spPr>
          <a:xfrm>
            <a:off x="0" y="0"/>
            <a:ext cx="12240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799" y="2661701"/>
            <a:ext cx="11326813" cy="604837"/>
          </a:xfrm>
        </p:spPr>
        <p:txBody>
          <a:bodyPr anchor="b"/>
          <a:lstStyle>
            <a:lvl1pPr algn="ctr">
              <a:defRPr sz="3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799" y="3297229"/>
            <a:ext cx="11326813" cy="512762"/>
          </a:xfrm>
        </p:spPr>
        <p:txBody>
          <a:bodyPr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30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38563CE8-0E87-4D7D-ABCB-FE95BC1C2E97}" type="datetime1">
              <a:rPr lang="en-GB" smtClean="0"/>
              <a:t>02/04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4050" y="5960547"/>
            <a:ext cx="1755129" cy="182161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267616"/>
            <a:ext cx="11326813" cy="322440"/>
          </a:xfrm>
        </p:spPr>
        <p:txBody>
          <a:bodyPr/>
          <a:lstStyle>
            <a:lvl1pPr marL="0" indent="0" algn="ctr">
              <a:buFontTx/>
              <a:buNone/>
              <a:defRPr sz="1200" b="0"/>
            </a:lvl1pPr>
          </a:lstStyle>
          <a:p>
            <a:pPr lvl="0"/>
            <a:r>
              <a:rPr lang="en-GB" noProof="0" dirty="0"/>
              <a:t>Insert Day XX Month XXXX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880000" y="2163130"/>
            <a:ext cx="43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Guidetext"/>
          <p:cNvSpPr>
            <a:spLocks/>
          </p:cNvSpPr>
          <p:nvPr userDrawn="1"/>
        </p:nvSpPr>
        <p:spPr bwMode="gray">
          <a:xfrm>
            <a:off x="-1733550" y="2528389"/>
            <a:ext cx="1595437" cy="4616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 drawing guides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check on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</p:txBody>
      </p:sp>
      <p:sp>
        <p:nvSpPr>
          <p:cNvPr id="16" name="Guidetext"/>
          <p:cNvSpPr>
            <a:spLocks/>
          </p:cNvSpPr>
          <p:nvPr userDrawn="1"/>
        </p:nvSpPr>
        <p:spPr bwMode="gray">
          <a:xfrm>
            <a:off x="-1733550" y="1002698"/>
            <a:ext cx="1595437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r>
              <a:rPr lang="en-GB" sz="1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layouts in the</a:t>
            </a:r>
            <a:r>
              <a:rPr lang="en-GB" sz="1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New Slides</a:t>
            </a:r>
            <a:endParaRPr lang="en-GB" sz="10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2011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che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868363" y="1743709"/>
            <a:ext cx="5083175" cy="4015742"/>
          </a:xfrm>
        </p:spPr>
        <p:txBody>
          <a:bodyPr/>
          <a:lstStyle>
            <a:lvl1pPr marL="0" indent="0">
              <a:lnSpc>
                <a:spcPct val="119000"/>
              </a:lnSpc>
              <a:spcBef>
                <a:spcPts val="0"/>
              </a:spcBef>
              <a:buFontTx/>
              <a:buNone/>
              <a:defRPr lang="en-GB" sz="1600" b="0" i="1" u="none" strike="noStrike" spc="70" baseline="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DC8CA0-4AF8-4EF8-96E2-F8165D13AFF0}" type="datetime1">
              <a:rPr lang="en-GB" smtClean="0"/>
              <a:t>02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AutoShape 4"/>
          <p:cNvSpPr>
            <a:spLocks/>
          </p:cNvSpPr>
          <p:nvPr userDrawn="1"/>
        </p:nvSpPr>
        <p:spPr bwMode="gray">
          <a:xfrm>
            <a:off x="-1659467" y="2322513"/>
            <a:ext cx="1515004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  <p:sp>
        <p:nvSpPr>
          <p:cNvPr id="23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24" name="Text Box 12"/>
          <p:cNvSpPr txBox="1">
            <a:spLocks noChangeArrowheads="1"/>
          </p:cNvSpPr>
          <p:nvPr userDrawn="1"/>
        </p:nvSpPr>
        <p:spPr bwMode="auto">
          <a:xfrm>
            <a:off x="-1659467" y="1809750"/>
            <a:ext cx="151500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he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first colomn is </a:t>
            </a:r>
            <a:b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a manchet </a:t>
            </a:r>
            <a:endParaRPr lang="en-GB" altLang="da-DK" sz="1000" b="1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25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193691" y="1754188"/>
            <a:ext cx="5129947" cy="4005263"/>
          </a:xfrm>
        </p:spPr>
        <p:txBody>
          <a:bodyPr numCol="1" spcCol="252000"/>
          <a:lstStyle>
            <a:lvl1pPr marL="36000" indent="-36000">
              <a:spcBef>
                <a:spcPts val="1800"/>
              </a:spcBef>
              <a:spcAft>
                <a:spcPts val="0"/>
              </a:spcAft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spcAft>
                <a:spcPts val="0"/>
              </a:spcAft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spcAft>
                <a:spcPts val="0"/>
              </a:spcAft>
              <a:defRPr sz="1200" spc="50" baseline="0"/>
            </a:lvl3pPr>
            <a:lvl4pPr marL="439200">
              <a:spcBef>
                <a:spcPts val="1800"/>
              </a:spcBef>
              <a:spcAft>
                <a:spcPts val="0"/>
              </a:spcAft>
              <a:defRPr sz="1200" spc="50" baseline="0"/>
            </a:lvl4pPr>
            <a:lvl5pPr marL="633600">
              <a:spcBef>
                <a:spcPts val="1800"/>
              </a:spcBef>
              <a:spcAft>
                <a:spcPts val="0"/>
              </a:spcAft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1359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che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868363" y="1743709"/>
            <a:ext cx="5083175" cy="4015742"/>
          </a:xfrm>
        </p:spPr>
        <p:txBody>
          <a:bodyPr/>
          <a:lstStyle>
            <a:lvl1pPr marL="0" indent="0">
              <a:lnSpc>
                <a:spcPct val="119000"/>
              </a:lnSpc>
              <a:spcBef>
                <a:spcPts val="0"/>
              </a:spcBef>
              <a:buFontTx/>
              <a:buNone/>
              <a:defRPr lang="en-GB" sz="1600" b="0" i="1" u="none" strike="noStrike" spc="70" baseline="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9"/>
          </p:nvPr>
        </p:nvSpPr>
        <p:spPr>
          <a:xfrm>
            <a:off x="6238875" y="1754188"/>
            <a:ext cx="5084763" cy="40052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DC8CA0-4AF8-4EF8-96E2-F8165D13AFF0}" type="datetime1">
              <a:rPr lang="en-GB" smtClean="0"/>
              <a:t>02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1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-1659467" y="1809750"/>
            <a:ext cx="151500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he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first colomn is </a:t>
            </a:r>
            <a:b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a manchet </a:t>
            </a:r>
            <a:endParaRPr lang="en-GB" altLang="da-DK" sz="1000" b="1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3" name="AutoShape 4"/>
          <p:cNvSpPr>
            <a:spLocks/>
          </p:cNvSpPr>
          <p:nvPr userDrawn="1"/>
        </p:nvSpPr>
        <p:spPr bwMode="gray">
          <a:xfrm>
            <a:off x="-1659467" y="2326223"/>
            <a:ext cx="1515004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 bulleted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</a:t>
            </a:r>
            <a:endParaRPr lang="en-GB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 to fifth level = 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 bulleted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</a:t>
            </a:r>
          </a:p>
        </p:txBody>
      </p:sp>
      <p:sp>
        <p:nvSpPr>
          <p:cNvPr id="14" name="Text Placeholder 2"/>
          <p:cNvSpPr txBox="1">
            <a:spLocks/>
          </p:cNvSpPr>
          <p:nvPr userDrawn="1"/>
        </p:nvSpPr>
        <p:spPr>
          <a:xfrm>
            <a:off x="12277620" y="1754188"/>
            <a:ext cx="2054830" cy="4005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000" spc="0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– bullets:</a:t>
            </a:r>
            <a:endParaRPr lang="da-DK" noProof="1"/>
          </a:p>
          <a:p>
            <a:endParaRPr lang="da-DK" noProof="1"/>
          </a:p>
          <a:p>
            <a:pPr marL="190800" indent="-190800">
              <a:buFont typeface="Arial Black" panose="020B0A04020102020204" pitchFamily="34" charset="0"/>
              <a:buChar char="-"/>
            </a:pPr>
            <a:r>
              <a:rPr lang="da-DK" noProof="1"/>
              <a:t>First level = Bulleted list in bold text</a:t>
            </a:r>
          </a:p>
          <a:p>
            <a:pPr lvl="1"/>
            <a:r>
              <a:rPr lang="da-DK" noProof="1"/>
              <a:t>Use TAB-key for second level = regular bulleted list</a:t>
            </a:r>
          </a:p>
          <a:p>
            <a:pPr lvl="2"/>
            <a:r>
              <a:rPr lang="da-DK" noProof="1"/>
              <a:t>Third level</a:t>
            </a:r>
          </a:p>
          <a:p>
            <a:pPr lvl="3"/>
            <a:r>
              <a:rPr lang="da-DK" noProof="1"/>
              <a:t>Fourth level</a:t>
            </a:r>
          </a:p>
          <a:p>
            <a:pPr lvl="4"/>
            <a:r>
              <a:rPr lang="da-DK" noProof="1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49152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824400" y="1754189"/>
            <a:ext cx="5130000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195599" y="1754188"/>
            <a:ext cx="5130000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4287545-B69F-49A8-9E54-38EB83245F58}" type="datetime1">
              <a:rPr lang="en-GB" smtClean="0"/>
              <a:t>02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30" name="AutoShape 4"/>
          <p:cNvSpPr>
            <a:spLocks/>
          </p:cNvSpPr>
          <p:nvPr userDrawn="1"/>
        </p:nvSpPr>
        <p:spPr bwMode="gray">
          <a:xfrm>
            <a:off x="-1648178" y="1809750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3193488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ulle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868363" y="1754188"/>
            <a:ext cx="5083175" cy="40052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xfrm>
            <a:off x="6238875" y="1754188"/>
            <a:ext cx="5084763" cy="40052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DC8CA0-4AF8-4EF8-96E2-F8165D13AFF0}" type="datetime1">
              <a:rPr lang="en-GB" smtClean="0"/>
              <a:t>02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13" name="AutoShape 4"/>
          <p:cNvSpPr>
            <a:spLocks/>
          </p:cNvSpPr>
          <p:nvPr userDrawn="1"/>
        </p:nvSpPr>
        <p:spPr bwMode="gray">
          <a:xfrm>
            <a:off x="-1659467" y="2326223"/>
            <a:ext cx="1515004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 bulleted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</a:t>
            </a:r>
            <a:endParaRPr lang="en-GB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 to fifth level = 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 bulleted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</a:t>
            </a:r>
          </a:p>
        </p:txBody>
      </p:sp>
      <p:sp>
        <p:nvSpPr>
          <p:cNvPr id="14" name="Text Placeholder 2"/>
          <p:cNvSpPr txBox="1">
            <a:spLocks/>
          </p:cNvSpPr>
          <p:nvPr userDrawn="1"/>
        </p:nvSpPr>
        <p:spPr>
          <a:xfrm>
            <a:off x="12277620" y="1754188"/>
            <a:ext cx="2054830" cy="4005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000" spc="0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– bullets:</a:t>
            </a:r>
            <a:endParaRPr lang="da-DK" noProof="1"/>
          </a:p>
          <a:p>
            <a:endParaRPr lang="da-DK" noProof="1"/>
          </a:p>
          <a:p>
            <a:pPr marL="190800" indent="-190800">
              <a:buFont typeface="Arial Black" panose="020B0A04020102020204" pitchFamily="34" charset="0"/>
              <a:buChar char="-"/>
            </a:pPr>
            <a:r>
              <a:rPr lang="da-DK" noProof="1"/>
              <a:t>First level = Bulleted list in bold text</a:t>
            </a:r>
          </a:p>
          <a:p>
            <a:pPr lvl="1"/>
            <a:r>
              <a:rPr lang="da-DK" noProof="1"/>
              <a:t>Use TAB-key for second level = regular bulleted list</a:t>
            </a:r>
          </a:p>
          <a:p>
            <a:pPr lvl="2"/>
            <a:r>
              <a:rPr lang="da-DK" noProof="1"/>
              <a:t>Third level</a:t>
            </a:r>
          </a:p>
          <a:p>
            <a:pPr lvl="3"/>
            <a:r>
              <a:rPr lang="da-DK" noProof="1"/>
              <a:t>Fourth level</a:t>
            </a:r>
          </a:p>
          <a:p>
            <a:pPr lvl="4"/>
            <a:r>
              <a:rPr lang="da-DK" noProof="1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66711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824399" y="1754189"/>
            <a:ext cx="2442676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506400" y="1754188"/>
            <a:ext cx="2445138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192000" y="1754188"/>
            <a:ext cx="2445588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8881200" y="1754188"/>
            <a:ext cx="2442438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Date Placeholder 13" hidden="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9998DDF-DDAF-4133-A98F-39E05370E4E9}" type="datetime1">
              <a:rPr lang="en-GB" smtClean="0"/>
              <a:t>02/04/2018</a:t>
            </a:fld>
            <a:endParaRPr lang="en-GB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26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8" name="AutoShape 4"/>
          <p:cNvSpPr>
            <a:spLocks/>
          </p:cNvSpPr>
          <p:nvPr userDrawn="1"/>
        </p:nvSpPr>
        <p:spPr bwMode="gray">
          <a:xfrm>
            <a:off x="-1648178" y="1809750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15666692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341189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1" y="761007"/>
            <a:ext cx="10891838" cy="5738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8363" y="1754188"/>
            <a:ext cx="10455275" cy="4005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10428052" y="6426200"/>
            <a:ext cx="1330562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29998DDF-DDAF-4133-A98F-39E05370E4E9}" type="datetime1">
              <a:rPr lang="en-GB" smtClean="0"/>
              <a:t>02/04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3800" y="6326085"/>
            <a:ext cx="8077000" cy="5349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 b="0" cap="all" spc="60" baseline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1801" y="6326085"/>
            <a:ext cx="432000" cy="5319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 b="0" spc="60" baseline="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Logo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6089" y="6290973"/>
            <a:ext cx="1332000" cy="138245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>
            <a:off x="431800" y="1385331"/>
            <a:ext cx="43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49" r:id="rId3"/>
    <p:sldLayoutId id="2147483661" r:id="rId4"/>
    <p:sldLayoutId id="2147483662" r:id="rId5"/>
    <p:sldLayoutId id="2147483673" r:id="rId6"/>
    <p:sldLayoutId id="2147483663" r:id="rId7"/>
    <p:sldLayoutId id="2147483674" r:id="rId8"/>
    <p:sldLayoutId id="2147483669" r:id="rId9"/>
    <p:sldLayoutId id="2147483670" r:id="rId10"/>
    <p:sldLayoutId id="2147483671" r:id="rId11"/>
    <p:sldLayoutId id="2147483664" r:id="rId12"/>
    <p:sldLayoutId id="2147483665" r:id="rId13"/>
    <p:sldLayoutId id="2147483666" r:id="rId14"/>
    <p:sldLayoutId id="2147483672" r:id="rId15"/>
    <p:sldLayoutId id="2147483654" r:id="rId16"/>
    <p:sldLayoutId id="2147483668" r:id="rId17"/>
    <p:sldLayoutId id="2147483655" r:id="rId18"/>
    <p:sldLayoutId id="2147483675" r:id="rId19"/>
  </p:sldLayoutIdLst>
  <p:hf hd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300" b="1" kern="1200" cap="all" spc="16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25000"/>
        </a:lnSpc>
        <a:spcBef>
          <a:spcPts val="1800"/>
        </a:spcBef>
        <a:buFont typeface="Arial Black" panose="020B0A04020102020204" pitchFamily="34" charset="0"/>
        <a:buChar char="-"/>
        <a:defRPr sz="1200" b="1" kern="1200" spc="50" baseline="0">
          <a:solidFill>
            <a:schemeClr val="tx1"/>
          </a:solidFill>
          <a:latin typeface="+mn-lt"/>
          <a:ea typeface="+mn-ea"/>
          <a:cs typeface="+mn-cs"/>
        </a:defRPr>
      </a:lvl1pPr>
      <a:lvl2pPr marL="1908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2pPr>
      <a:lvl3pPr marL="3816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3pPr>
      <a:lvl4pPr marL="5724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4pPr>
      <a:lvl5pPr marL="7632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5pPr>
      <a:lvl6pPr marL="9540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6pPr>
      <a:lvl7pPr marL="11448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7pPr>
      <a:lvl8pPr marL="13356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8pPr>
      <a:lvl9pPr marL="15264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emplates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0445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1767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AnAlysis output templa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2</a:t>
            </a:fld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431804" y="4498016"/>
            <a:ext cx="5040000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>
                <a:solidFill>
                  <a:schemeClr val="tx1"/>
                </a:solidFill>
              </a:rPr>
              <a:t>Stakeholders involved</a:t>
            </a:r>
            <a:endParaRPr lang="en-US" sz="1000" b="1" spc="50" baseline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31800" y="1825625"/>
            <a:ext cx="5040000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>
                <a:solidFill>
                  <a:schemeClr val="tx1"/>
                </a:solidFill>
              </a:rPr>
              <a:t>Analysis Foundation</a:t>
            </a:r>
            <a:endParaRPr lang="en-US" sz="1000" b="1" spc="50" baseline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721474" y="2115358"/>
            <a:ext cx="5040000" cy="28412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>
                <a:solidFill>
                  <a:schemeClr val="tx1"/>
                </a:solidFill>
              </a:rPr>
              <a:t>Analysis Results</a:t>
            </a:r>
            <a:endParaRPr lang="en-US" sz="1000" b="1" spc="50" baseline="0">
              <a:solidFill>
                <a:schemeClr val="tx1"/>
              </a:solidFill>
            </a:endParaRPr>
          </a:p>
        </p:txBody>
      </p:sp>
      <p:sp>
        <p:nvSpPr>
          <p:cNvPr id="31" name="Isosceles Triangle 30"/>
          <p:cNvSpPr/>
          <p:nvPr/>
        </p:nvSpPr>
        <p:spPr>
          <a:xfrm rot="5400000">
            <a:off x="4321461" y="3700257"/>
            <a:ext cx="3420253" cy="547455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en-US" sz="1200" spc="50" baseline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19894" y="2274818"/>
            <a:ext cx="1836000" cy="1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>
                <a:solidFill>
                  <a:schemeClr val="tx1"/>
                </a:solidFill>
              </a:rPr>
              <a:t>Background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19894" y="3015884"/>
            <a:ext cx="1836000" cy="1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>
                <a:solidFill>
                  <a:schemeClr val="tx1"/>
                </a:solidFill>
              </a:rPr>
              <a:t>Business</a:t>
            </a:r>
            <a:r>
              <a:rPr lang="en-US" sz="1000" spc="50">
                <a:solidFill>
                  <a:schemeClr val="tx1"/>
                </a:solidFill>
              </a:rPr>
              <a:t> Questions</a:t>
            </a:r>
            <a:endParaRPr lang="en-US" sz="1000" spc="50" baseline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19894" y="3756950"/>
            <a:ext cx="1836000" cy="1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>
                <a:solidFill>
                  <a:schemeClr val="tx1"/>
                </a:solidFill>
              </a:rPr>
              <a:t>Potential Business Action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352675" y="2274818"/>
            <a:ext cx="3128173" cy="57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endParaRPr lang="en-US" sz="1000" spc="50" baseline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40765" y="3015884"/>
            <a:ext cx="3128173" cy="57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endParaRPr lang="en-US" sz="1000" spc="50" baseline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340765" y="3756950"/>
            <a:ext cx="3128173" cy="57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endParaRPr lang="en-US" sz="1000" spc="50" baseline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31804" y="4947209"/>
            <a:ext cx="1836000" cy="1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>
                <a:solidFill>
                  <a:schemeClr val="tx1"/>
                </a:solidFill>
              </a:rPr>
              <a:t>Key Analyst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31804" y="5688275"/>
            <a:ext cx="1836000" cy="1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>
                <a:solidFill>
                  <a:schemeClr val="tx1"/>
                </a:solidFill>
              </a:rPr>
              <a:t>Stakeholder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352675" y="4947209"/>
            <a:ext cx="3128173" cy="57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endParaRPr lang="en-US" sz="1000" spc="50" baseline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352675" y="5688275"/>
            <a:ext cx="3128173" cy="57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endParaRPr lang="en-US" sz="1000" spc="50" baseline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2194539" y="4068548"/>
            <a:ext cx="5040000" cy="10607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en-US" sz="1000" spc="50">
                <a:solidFill>
                  <a:schemeClr val="tx1"/>
                </a:solidFill>
              </a:rPr>
              <a:t>Breakdown of Demand_eV in business cases into daily targets per brand and per country using overall averag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31800" y="1443131"/>
            <a:ext cx="1836000" cy="284127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000" b="1" spc="50">
                <a:solidFill>
                  <a:schemeClr val="bg1">
                    <a:lumMod val="95000"/>
                  </a:schemeClr>
                </a:solidFill>
              </a:rPr>
              <a:t>Hypothesis</a:t>
            </a:r>
            <a:endParaRPr lang="en-US" sz="1000" b="1" spc="50" baseline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364580" y="1442834"/>
            <a:ext cx="9408799" cy="284127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endParaRPr lang="en-US" sz="1000" spc="50" baseline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718935" y="2498513"/>
            <a:ext cx="1296000" cy="18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>
                <a:solidFill>
                  <a:schemeClr val="tx1"/>
                </a:solidFill>
              </a:rPr>
              <a:t>Key Result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718935" y="4509246"/>
            <a:ext cx="1296000" cy="18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r">
              <a:lnSpc>
                <a:spcPct val="111000"/>
              </a:lnSpc>
            </a:pPr>
            <a:r>
              <a:rPr lang="en-US" sz="1000" spc="50" baseline="0" dirty="0">
                <a:solidFill>
                  <a:schemeClr val="tx1"/>
                </a:solidFill>
              </a:rPr>
              <a:t>Filters used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118282" y="2498513"/>
            <a:ext cx="3643191" cy="191170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en-US" sz="1000" spc="5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8118281" y="4509246"/>
            <a:ext cx="3643191" cy="16329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111000"/>
              </a:lnSpc>
            </a:pPr>
            <a:r>
              <a:rPr lang="en-US" sz="1000" spc="50" baseline="0" dirty="0">
                <a:solidFill>
                  <a:schemeClr val="tx1"/>
                </a:solidFill>
              </a:rPr>
              <a:t>Online channels</a:t>
            </a:r>
            <a:r>
              <a:rPr lang="en-US" sz="1000" spc="50" dirty="0">
                <a:solidFill>
                  <a:schemeClr val="tx1"/>
                </a:solidFill>
              </a:rPr>
              <a:t>: Paid Search, Organic Search, Direct</a:t>
            </a:r>
          </a:p>
          <a:p>
            <a:pPr>
              <a:lnSpc>
                <a:spcPct val="111000"/>
              </a:lnSpc>
            </a:pPr>
            <a:endParaRPr lang="en-US" sz="1000" spc="50" dirty="0">
              <a:solidFill>
                <a:schemeClr val="tx1"/>
              </a:solidFill>
            </a:endParaRPr>
          </a:p>
          <a:p>
            <a:pPr>
              <a:lnSpc>
                <a:spcPct val="111000"/>
              </a:lnSpc>
            </a:pPr>
            <a:r>
              <a:rPr lang="en-US" sz="1000" spc="50" dirty="0">
                <a:solidFill>
                  <a:schemeClr val="tx1"/>
                </a:solidFill>
              </a:rPr>
              <a:t> Sessions with over 2 Page Views</a:t>
            </a:r>
          </a:p>
        </p:txBody>
      </p:sp>
    </p:spTree>
    <p:extLst>
      <p:ext uri="{BB962C8B-B14F-4D97-AF65-F5344CB8AC3E}">
        <p14:creationId xmlns:p14="http://schemas.microsoft.com/office/powerpoint/2010/main" val="17805397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3754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/>
              <a:t>1. What?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3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799" y="1020726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200" b="1" spc="50" dirty="0">
                <a:solidFill>
                  <a:schemeClr val="tx1"/>
                </a:solidFill>
              </a:rPr>
              <a:t>Current traffic situation</a:t>
            </a:r>
            <a:endParaRPr lang="en-US" sz="1200" b="1" spc="50" baseline="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2DACB4-B74C-4ED0-8633-3C7BD8346277}"/>
              </a:ext>
            </a:extLst>
          </p:cNvPr>
          <p:cNvSpPr txBox="1"/>
          <p:nvPr/>
        </p:nvSpPr>
        <p:spPr>
          <a:xfrm>
            <a:off x="431799" y="1614669"/>
            <a:ext cx="9439563" cy="24599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1000"/>
              </a:lnSpc>
            </a:pPr>
            <a:r>
              <a:rPr lang="nl-NL" sz="1200" spc="50" dirty="0" err="1"/>
              <a:t>All</a:t>
            </a:r>
            <a:r>
              <a:rPr lang="nl-NL" sz="1200" spc="50" dirty="0"/>
              <a:t> </a:t>
            </a:r>
            <a:r>
              <a:rPr lang="nl-NL" sz="1200" spc="50" dirty="0" err="1"/>
              <a:t>components</a:t>
            </a:r>
            <a:r>
              <a:rPr lang="nl-NL" sz="1200" spc="50" dirty="0"/>
              <a:t> of customer </a:t>
            </a:r>
            <a:r>
              <a:rPr lang="nl-NL" sz="1200" spc="50" dirty="0" err="1"/>
              <a:t>journey</a:t>
            </a:r>
            <a:r>
              <a:rPr lang="nl-NL" sz="1200" spc="50" dirty="0"/>
              <a:t> </a:t>
            </a:r>
            <a:r>
              <a:rPr lang="nl-NL" sz="1200" spc="50" dirty="0" err="1"/>
              <a:t>should</a:t>
            </a:r>
            <a:r>
              <a:rPr lang="nl-NL" sz="1200" spc="50" dirty="0"/>
              <a:t> </a:t>
            </a:r>
            <a:r>
              <a:rPr lang="nl-NL" sz="1200" spc="50" dirty="0" err="1"/>
              <a:t>be</a:t>
            </a:r>
            <a:r>
              <a:rPr lang="nl-NL" sz="1200" spc="50" dirty="0"/>
              <a:t> </a:t>
            </a:r>
            <a:r>
              <a:rPr lang="nl-NL" sz="1200" spc="50" dirty="0" err="1"/>
              <a:t>tracked</a:t>
            </a:r>
            <a:r>
              <a:rPr lang="nl-NL" sz="1200" spc="50" dirty="0"/>
              <a:t>.</a:t>
            </a:r>
          </a:p>
          <a:p>
            <a:pPr marL="0" algn="l" defTabSz="914400" rtl="0" eaLnBrk="1" latinLnBrk="0" hangingPunct="1">
              <a:lnSpc>
                <a:spcPct val="111000"/>
              </a:lnSpc>
            </a:pPr>
            <a:endParaRPr lang="nl-NL" sz="1200" spc="50" dirty="0"/>
          </a:p>
          <a:p>
            <a:pPr marL="0" algn="l" defTabSz="914400" rtl="0" eaLnBrk="1" latinLnBrk="0" hangingPunct="1">
              <a:lnSpc>
                <a:spcPct val="111000"/>
              </a:lnSpc>
            </a:pP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in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ssues in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urrent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tuation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correct data (tracking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correct labels or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m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vents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fferent labels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cross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orefronts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/>
              <a:t>Missing data (</a:t>
            </a:r>
            <a:r>
              <a:rPr lang="nl-NL" sz="1200" spc="50" dirty="0" err="1"/>
              <a:t>not</a:t>
            </a:r>
            <a:r>
              <a:rPr lang="nl-NL" sz="1200" spc="50" dirty="0"/>
              <a:t> tracking </a:t>
            </a:r>
            <a:r>
              <a:rPr lang="nl-NL" sz="1200" spc="50" dirty="0" err="1"/>
              <a:t>the</a:t>
            </a:r>
            <a:r>
              <a:rPr lang="nl-NL" sz="1200" spc="50" dirty="0"/>
              <a:t> data at </a:t>
            </a:r>
            <a:r>
              <a:rPr lang="nl-NL" sz="1200" spc="50" dirty="0" err="1"/>
              <a:t>all</a:t>
            </a:r>
            <a:r>
              <a:rPr lang="nl-NL" sz="1200" spc="50" dirty="0"/>
              <a:t>)</a:t>
            </a:r>
          </a:p>
          <a:p>
            <a:pPr algn="l" defTabSz="914400" rtl="0" eaLnBrk="1" latinLnBrk="0" hangingPunct="1">
              <a:lnSpc>
                <a:spcPct val="111000"/>
              </a:lnSpc>
            </a:pP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l" defTabSz="914400" rtl="0" eaLnBrk="1" latinLnBrk="0" hangingPunct="1">
              <a:lnSpc>
                <a:spcPct val="111000"/>
              </a:lnSpc>
            </a:pPr>
            <a:r>
              <a:rPr lang="nl-NL" sz="1200" spc="50" dirty="0" err="1"/>
              <a:t>There</a:t>
            </a:r>
            <a:r>
              <a:rPr lang="nl-NL" sz="1200" spc="50" dirty="0"/>
              <a:t> are 2 </a:t>
            </a:r>
            <a:r>
              <a:rPr lang="nl-NL" sz="1200" spc="50" dirty="0" err="1"/>
              <a:t>distinct</a:t>
            </a:r>
            <a:r>
              <a:rPr lang="nl-NL" sz="1200" spc="50" dirty="0"/>
              <a:t> types of “hits” (</a:t>
            </a:r>
            <a:r>
              <a:rPr lang="nl-NL" sz="1200" spc="50" dirty="0" err="1"/>
              <a:t>session</a:t>
            </a:r>
            <a:r>
              <a:rPr lang="nl-NL" sz="1200" spc="50" dirty="0"/>
              <a:t> </a:t>
            </a:r>
            <a:r>
              <a:rPr lang="nl-NL" sz="1200" spc="50" dirty="0" err="1"/>
              <a:t>components</a:t>
            </a:r>
            <a:r>
              <a:rPr lang="nl-NL" sz="1200" spc="50" dirty="0"/>
              <a:t>) </a:t>
            </a:r>
            <a:r>
              <a:rPr lang="nl-NL" sz="1200" spc="50" dirty="0" err="1"/>
              <a:t>which</a:t>
            </a:r>
            <a:r>
              <a:rPr lang="nl-NL" sz="1200" spc="50" dirty="0"/>
              <a:t> </a:t>
            </a:r>
            <a:r>
              <a:rPr lang="nl-NL" sz="1200" spc="50" dirty="0" err="1"/>
              <a:t>will</a:t>
            </a:r>
            <a:r>
              <a:rPr lang="nl-NL" sz="1200" spc="50" dirty="0"/>
              <a:t> </a:t>
            </a:r>
            <a:r>
              <a:rPr lang="nl-NL" sz="1200" spc="50" dirty="0" err="1"/>
              <a:t>influence</a:t>
            </a:r>
            <a:r>
              <a:rPr lang="nl-NL" sz="1200" spc="50" dirty="0"/>
              <a:t> </a:t>
            </a:r>
            <a:r>
              <a:rPr lang="nl-NL" sz="1200" spc="50" dirty="0" err="1"/>
              <a:t>the</a:t>
            </a:r>
            <a:r>
              <a:rPr lang="nl-NL" sz="1200" spc="50" dirty="0"/>
              <a:t> business in a different way:</a:t>
            </a:r>
          </a:p>
          <a:p>
            <a:pPr algn="l" defTabSz="914400" rtl="0" eaLnBrk="1" latinLnBrk="0" hangingPunct="1">
              <a:lnSpc>
                <a:spcPct val="111000"/>
              </a:lnSpc>
            </a:pPr>
            <a:endParaRPr lang="nl-NL" sz="1200" spc="50" dirty="0">
              <a:sym typeface="Wingdings" panose="05000000000000000000" pitchFamily="2" charset="2"/>
            </a:endParaRP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Wingdings" panose="05000000000000000000" pitchFamily="2" charset="2"/>
              <a:buChar char="à"/>
            </a:pP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vents –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action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ser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ebsite (clicks, open of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nus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oll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own,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tc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Wingdings" panose="05000000000000000000" pitchFamily="2" charset="2"/>
              <a:buChar char="à"/>
            </a:pPr>
            <a:r>
              <a:rPr lang="nl-NL" sz="1200" spc="50" dirty="0"/>
              <a:t>Pages – </a:t>
            </a:r>
            <a:r>
              <a:rPr lang="nl-NL" sz="1200" spc="50" dirty="0" err="1"/>
              <a:t>What</a:t>
            </a:r>
            <a:r>
              <a:rPr lang="nl-NL" sz="1200" spc="50" dirty="0"/>
              <a:t> </a:t>
            </a:r>
            <a:r>
              <a:rPr lang="nl-NL" sz="1200" spc="50" dirty="0" err="1"/>
              <a:t>the</a:t>
            </a:r>
            <a:r>
              <a:rPr lang="nl-NL" sz="1200" spc="50" dirty="0"/>
              <a:t> </a:t>
            </a:r>
            <a:r>
              <a:rPr lang="nl-NL" sz="1200" spc="50" dirty="0" err="1"/>
              <a:t>consumer</a:t>
            </a:r>
            <a:r>
              <a:rPr lang="nl-NL" sz="1200" spc="50" dirty="0"/>
              <a:t> </a:t>
            </a:r>
            <a:r>
              <a:rPr lang="nl-NL" sz="1200" spc="50" dirty="0" err="1"/>
              <a:t>sees</a:t>
            </a:r>
            <a:r>
              <a:rPr lang="nl-NL" sz="1200" spc="50" dirty="0"/>
              <a:t> in </a:t>
            </a:r>
            <a:r>
              <a:rPr lang="nl-NL" sz="1200" spc="50" dirty="0" err="1"/>
              <a:t>the</a:t>
            </a:r>
            <a:r>
              <a:rPr lang="nl-NL" sz="1200" spc="50" dirty="0"/>
              <a:t> website (page types, </a:t>
            </a:r>
            <a:r>
              <a:rPr lang="nl-NL" sz="1200" spc="50" dirty="0" err="1"/>
              <a:t>products</a:t>
            </a:r>
            <a:r>
              <a:rPr lang="nl-NL" sz="1200" spc="50" dirty="0"/>
              <a:t>, page </a:t>
            </a:r>
            <a:r>
              <a:rPr lang="nl-NL" sz="1200" spc="50" dirty="0" err="1"/>
              <a:t>origin</a:t>
            </a:r>
            <a:r>
              <a:rPr lang="nl-NL" sz="1200" spc="50" dirty="0"/>
              <a:t>, </a:t>
            </a:r>
            <a:r>
              <a:rPr lang="nl-NL" sz="1200" spc="50" dirty="0" err="1"/>
              <a:t>etc</a:t>
            </a:r>
            <a:r>
              <a:rPr lang="nl-NL" sz="1200" spc="50" dirty="0"/>
              <a:t>)</a:t>
            </a: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Wingdings" panose="05000000000000000000" pitchFamily="2" charset="2"/>
              <a:buChar char="à"/>
            </a:pP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l" defTabSz="914400" rtl="0" eaLnBrk="1" latinLnBrk="0" hangingPunct="1">
              <a:lnSpc>
                <a:spcPct val="111000"/>
              </a:lnSpc>
            </a:pP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500778-B8C4-48D8-A83D-9EFA68A899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1119" y="3835400"/>
            <a:ext cx="4320000" cy="25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95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/>
              <a:t>2. Why?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4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799" y="1020726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200" b="1" spc="50" dirty="0">
                <a:solidFill>
                  <a:schemeClr val="tx1"/>
                </a:solidFill>
              </a:rPr>
              <a:t>Why is it important to tackle the issues upcoming from the current situation?</a:t>
            </a:r>
            <a:endParaRPr lang="en-US" sz="1200" b="1" spc="50" baseline="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2DACB4-B74C-4ED0-8633-3C7BD8346277}"/>
              </a:ext>
            </a:extLst>
          </p:cNvPr>
          <p:cNvSpPr txBox="1"/>
          <p:nvPr/>
        </p:nvSpPr>
        <p:spPr>
          <a:xfrm>
            <a:off x="431799" y="1614669"/>
            <a:ext cx="11206019" cy="26648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 err="1"/>
              <a:t>Current</a:t>
            </a:r>
            <a:r>
              <a:rPr lang="nl-NL" sz="1200" spc="50" dirty="0"/>
              <a:t> analysis </a:t>
            </a:r>
            <a:r>
              <a:rPr lang="nl-NL" sz="1200" spc="50" dirty="0" err="1"/>
              <a:t>might</a:t>
            </a:r>
            <a:r>
              <a:rPr lang="nl-NL" sz="1200" spc="50" dirty="0"/>
              <a:t> </a:t>
            </a:r>
            <a:r>
              <a:rPr lang="nl-NL" sz="1200" spc="50" dirty="0" err="1"/>
              <a:t>bring</a:t>
            </a:r>
            <a:r>
              <a:rPr lang="nl-NL" sz="1200" spc="50" dirty="0"/>
              <a:t> </a:t>
            </a:r>
            <a:r>
              <a:rPr lang="nl-NL" sz="1200" spc="50" dirty="0" err="1"/>
              <a:t>to</a:t>
            </a:r>
            <a:r>
              <a:rPr lang="nl-NL" sz="1200" spc="50" dirty="0"/>
              <a:t> wrong </a:t>
            </a:r>
            <a:r>
              <a:rPr lang="nl-NL" sz="1200" spc="50" dirty="0" err="1"/>
              <a:t>conclusions</a:t>
            </a:r>
            <a:r>
              <a:rPr lang="nl-NL" sz="1200" spc="50" dirty="0"/>
              <a:t> – incorrect data (events </a:t>
            </a:r>
            <a:r>
              <a:rPr lang="nl-NL" sz="1200" spc="50" dirty="0" err="1"/>
              <a:t>labeled</a:t>
            </a:r>
            <a:r>
              <a:rPr lang="nl-NL" sz="1200" spc="50" dirty="0"/>
              <a:t> </a:t>
            </a:r>
            <a:r>
              <a:rPr lang="nl-NL" sz="1200" spc="50" dirty="0" err="1"/>
              <a:t>incorrectly</a:t>
            </a:r>
            <a:r>
              <a:rPr lang="nl-NL" sz="1200" spc="50" dirty="0"/>
              <a:t>, no </a:t>
            </a:r>
            <a:r>
              <a:rPr lang="nl-NL" sz="1200" spc="50" dirty="0" err="1"/>
              <a:t>documentation</a:t>
            </a:r>
            <a:r>
              <a:rPr lang="nl-NL" sz="1200" spc="50" dirty="0"/>
              <a:t> leads “</a:t>
            </a:r>
            <a:r>
              <a:rPr lang="nl-NL" sz="1200" spc="50" dirty="0" err="1"/>
              <a:t>self-documentation</a:t>
            </a:r>
            <a:r>
              <a:rPr lang="nl-NL" sz="1200" spc="50" dirty="0"/>
              <a:t>”)</a:t>
            </a:r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spc="50" dirty="0"/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 err="1"/>
              <a:t>Some</a:t>
            </a:r>
            <a:r>
              <a:rPr lang="nl-NL" sz="1200" spc="50" dirty="0"/>
              <a:t> events/</a:t>
            </a:r>
            <a:r>
              <a:rPr lang="nl-NL" sz="1200" spc="50" dirty="0" err="1"/>
              <a:t>KPIs</a:t>
            </a:r>
            <a:r>
              <a:rPr lang="nl-NL" sz="1200" spc="50" dirty="0"/>
              <a:t>/</a:t>
            </a:r>
            <a:r>
              <a:rPr lang="nl-NL" sz="1200" spc="50" dirty="0" err="1"/>
              <a:t>session</a:t>
            </a:r>
            <a:r>
              <a:rPr lang="nl-NL" sz="1200" spc="50" dirty="0"/>
              <a:t> </a:t>
            </a:r>
            <a:r>
              <a:rPr lang="nl-NL" sz="1200" spc="50" dirty="0" err="1"/>
              <a:t>components</a:t>
            </a:r>
            <a:r>
              <a:rPr lang="nl-NL" sz="1200" spc="50" dirty="0"/>
              <a:t> </a:t>
            </a:r>
            <a:r>
              <a:rPr lang="nl-NL" sz="1200" spc="50" dirty="0" err="1"/>
              <a:t>cannot</a:t>
            </a:r>
            <a:r>
              <a:rPr lang="nl-NL" sz="1200" spc="50" dirty="0"/>
              <a:t> </a:t>
            </a:r>
            <a:r>
              <a:rPr lang="nl-NL" sz="1200" spc="50" dirty="0" err="1"/>
              <a:t>be</a:t>
            </a:r>
            <a:r>
              <a:rPr lang="nl-NL" sz="1200" spc="50" dirty="0"/>
              <a:t> </a:t>
            </a:r>
            <a:r>
              <a:rPr lang="nl-NL" sz="1200" spc="50" dirty="0" err="1"/>
              <a:t>analyzed</a:t>
            </a:r>
            <a:r>
              <a:rPr lang="nl-NL" sz="1200" spc="50" dirty="0"/>
              <a:t> – missing data</a:t>
            </a:r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spc="50" dirty="0"/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 err="1"/>
              <a:t>Adopt</a:t>
            </a:r>
            <a:r>
              <a:rPr lang="nl-NL" sz="1200" spc="50" dirty="0"/>
              <a:t> a </a:t>
            </a:r>
            <a:r>
              <a:rPr lang="nl-NL" sz="1200" spc="50" dirty="0" err="1"/>
              <a:t>solid</a:t>
            </a:r>
            <a:r>
              <a:rPr lang="nl-NL" sz="1200" spc="50" dirty="0"/>
              <a:t> </a:t>
            </a:r>
            <a:r>
              <a:rPr lang="nl-NL" sz="1200" spc="50" dirty="0" err="1"/>
              <a:t>and</a:t>
            </a:r>
            <a:r>
              <a:rPr lang="nl-NL" sz="1200" spc="50" dirty="0"/>
              <a:t> </a:t>
            </a:r>
            <a:r>
              <a:rPr lang="nl-NL" sz="1200" spc="50" dirty="0" err="1"/>
              <a:t>homogenous</a:t>
            </a:r>
            <a:r>
              <a:rPr lang="nl-NL" sz="1200" spc="50" dirty="0"/>
              <a:t> approach leads </a:t>
            </a:r>
            <a:r>
              <a:rPr lang="nl-NL" sz="1200" spc="50" dirty="0" err="1"/>
              <a:t>to</a:t>
            </a:r>
            <a:r>
              <a:rPr lang="nl-NL" sz="1200" spc="50" dirty="0"/>
              <a:t> </a:t>
            </a:r>
            <a:r>
              <a:rPr lang="nl-NL" sz="1200" spc="50" dirty="0" err="1"/>
              <a:t>organization</a:t>
            </a:r>
            <a:r>
              <a:rPr lang="nl-NL" sz="1200" spc="50" dirty="0"/>
              <a:t> – </a:t>
            </a:r>
            <a:r>
              <a:rPr lang="nl-NL" sz="1200" spc="50" dirty="0" err="1"/>
              <a:t>processes</a:t>
            </a:r>
            <a:r>
              <a:rPr lang="nl-NL" sz="1200" spc="50" dirty="0"/>
              <a:t> </a:t>
            </a:r>
            <a:r>
              <a:rPr lang="nl-NL" sz="1200" spc="50" dirty="0" err="1"/>
              <a:t>can</a:t>
            </a:r>
            <a:r>
              <a:rPr lang="nl-NL" sz="1200" spc="50" dirty="0"/>
              <a:t> run </a:t>
            </a:r>
            <a:r>
              <a:rPr lang="nl-NL" sz="1200" spc="50" dirty="0" err="1"/>
              <a:t>smoothly</a:t>
            </a:r>
            <a:r>
              <a:rPr lang="nl-NL" sz="1200" spc="50" dirty="0"/>
              <a:t> + short, medium </a:t>
            </a:r>
            <a:r>
              <a:rPr lang="nl-NL" sz="1200" spc="50" dirty="0" err="1"/>
              <a:t>and</a:t>
            </a:r>
            <a:r>
              <a:rPr lang="nl-NL" sz="1200" spc="50" dirty="0"/>
              <a:t> long term </a:t>
            </a:r>
            <a:r>
              <a:rPr lang="nl-NL" sz="1200" spc="50" dirty="0" err="1"/>
              <a:t>gains</a:t>
            </a:r>
            <a:endParaRPr lang="nl-NL" sz="1200" spc="50" dirty="0"/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spc="50" dirty="0"/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/>
              <a:t>More </a:t>
            </a:r>
            <a:r>
              <a:rPr lang="nl-NL" sz="1200" spc="50" dirty="0" err="1"/>
              <a:t>and</a:t>
            </a:r>
            <a:r>
              <a:rPr lang="nl-NL" sz="1200" spc="50" dirty="0"/>
              <a:t> </a:t>
            </a:r>
            <a:r>
              <a:rPr lang="nl-NL" sz="1200" spc="50" dirty="0" err="1"/>
              <a:t>better</a:t>
            </a:r>
            <a:r>
              <a:rPr lang="nl-NL" sz="1200" spc="50" dirty="0"/>
              <a:t> data – more </a:t>
            </a:r>
            <a:r>
              <a:rPr lang="nl-NL" sz="1200" spc="50" dirty="0" err="1"/>
              <a:t>mechanisms</a:t>
            </a:r>
            <a:r>
              <a:rPr lang="nl-NL" sz="1200" spc="50" dirty="0"/>
              <a:t> </a:t>
            </a:r>
            <a:r>
              <a:rPr lang="nl-NL" sz="1200" spc="50" dirty="0" err="1"/>
              <a:t>to</a:t>
            </a:r>
            <a:r>
              <a:rPr lang="nl-NL" sz="1200" spc="50" dirty="0"/>
              <a:t> </a:t>
            </a:r>
            <a:r>
              <a:rPr lang="nl-NL" sz="1200" spc="50" dirty="0" err="1"/>
              <a:t>investigate</a:t>
            </a:r>
            <a:r>
              <a:rPr lang="nl-NL" sz="1200" spc="50" dirty="0"/>
              <a:t> </a:t>
            </a:r>
            <a:r>
              <a:rPr lang="nl-NL" sz="1200" spc="50" dirty="0" err="1"/>
              <a:t>and</a:t>
            </a:r>
            <a:r>
              <a:rPr lang="nl-NL" sz="1200" spc="50" dirty="0"/>
              <a:t> support </a:t>
            </a:r>
            <a:r>
              <a:rPr lang="nl-NL" sz="1200" spc="50" dirty="0" err="1"/>
              <a:t>decisions</a:t>
            </a:r>
            <a:endParaRPr lang="nl-NL" sz="1200" spc="50" dirty="0"/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spc="50" dirty="0"/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 err="1"/>
              <a:t>Gain</a:t>
            </a:r>
            <a:r>
              <a:rPr lang="nl-NL" sz="1200" spc="50" dirty="0"/>
              <a:t> trust in data – </a:t>
            </a:r>
            <a:r>
              <a:rPr lang="nl-NL" sz="1200" spc="50" dirty="0" err="1"/>
              <a:t>solid</a:t>
            </a:r>
            <a:r>
              <a:rPr lang="nl-NL" sz="1200" spc="50" dirty="0"/>
              <a:t> </a:t>
            </a:r>
            <a:r>
              <a:rPr lang="nl-NL" sz="1200" spc="50" dirty="0" err="1"/>
              <a:t>and</a:t>
            </a:r>
            <a:r>
              <a:rPr lang="nl-NL" sz="1200" spc="50" dirty="0"/>
              <a:t> more </a:t>
            </a:r>
            <a:r>
              <a:rPr lang="nl-NL" sz="1200" spc="50" dirty="0" err="1"/>
              <a:t>confident</a:t>
            </a:r>
            <a:r>
              <a:rPr lang="nl-NL" sz="1200" spc="50" dirty="0"/>
              <a:t> </a:t>
            </a:r>
            <a:r>
              <a:rPr lang="nl-NL" sz="1200" spc="50" dirty="0" err="1"/>
              <a:t>decision</a:t>
            </a:r>
            <a:r>
              <a:rPr lang="nl-NL" sz="1200" spc="50" dirty="0"/>
              <a:t> making </a:t>
            </a:r>
            <a:r>
              <a:rPr lang="nl-NL" sz="1200" spc="50" dirty="0" err="1"/>
              <a:t>processes</a:t>
            </a:r>
            <a:endParaRPr lang="nl-NL" sz="1200" spc="50" dirty="0"/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spc="50" dirty="0"/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 err="1"/>
              <a:t>Maximize</a:t>
            </a:r>
            <a:r>
              <a:rPr lang="nl-NL" sz="1200" spc="50" dirty="0"/>
              <a:t> performance of </a:t>
            </a:r>
            <a:r>
              <a:rPr lang="nl-NL" sz="1200" spc="50" dirty="0" err="1"/>
              <a:t>our</a:t>
            </a:r>
            <a:r>
              <a:rPr lang="nl-NL" sz="1200" spc="50" dirty="0"/>
              <a:t> product, </a:t>
            </a:r>
            <a:r>
              <a:rPr lang="nl-NL" sz="1200" spc="50" dirty="0" err="1"/>
              <a:t>the</a:t>
            </a:r>
            <a:r>
              <a:rPr lang="nl-NL" sz="1200" spc="50" dirty="0"/>
              <a:t> websites – is </a:t>
            </a:r>
            <a:r>
              <a:rPr lang="nl-NL" sz="1200" spc="50" dirty="0" err="1"/>
              <a:t>there</a:t>
            </a:r>
            <a:r>
              <a:rPr lang="nl-NL" sz="1200" spc="50" dirty="0"/>
              <a:t> </a:t>
            </a:r>
            <a:r>
              <a:rPr lang="nl-NL" sz="1200" spc="50" dirty="0" err="1"/>
              <a:t>where</a:t>
            </a:r>
            <a:r>
              <a:rPr lang="nl-NL" sz="1200" spc="50" dirty="0"/>
              <a:t> </a:t>
            </a:r>
            <a:r>
              <a:rPr lang="nl-NL" sz="1200" spc="50" dirty="0" err="1"/>
              <a:t>customers</a:t>
            </a:r>
            <a:r>
              <a:rPr lang="nl-NL" sz="1200" spc="50" dirty="0"/>
              <a:t> go </a:t>
            </a:r>
            <a:r>
              <a:rPr lang="nl-NL" sz="1200" spc="50" dirty="0" err="1"/>
              <a:t>and</a:t>
            </a:r>
            <a:r>
              <a:rPr lang="nl-NL" sz="1200" spc="50" dirty="0"/>
              <a:t> is </a:t>
            </a:r>
            <a:r>
              <a:rPr lang="nl-NL" sz="1200" spc="50" dirty="0" err="1"/>
              <a:t>there</a:t>
            </a:r>
            <a:r>
              <a:rPr lang="nl-NL" sz="1200" spc="50" dirty="0"/>
              <a:t> </a:t>
            </a:r>
            <a:r>
              <a:rPr lang="nl-NL" sz="1200" spc="50" dirty="0" err="1"/>
              <a:t>the</a:t>
            </a:r>
            <a:r>
              <a:rPr lang="nl-NL" sz="1200" spc="50" dirty="0"/>
              <a:t> </a:t>
            </a:r>
            <a:r>
              <a:rPr lang="nl-NL" sz="1200" spc="50" dirty="0" err="1"/>
              <a:t>customer’s</a:t>
            </a:r>
            <a:r>
              <a:rPr lang="nl-NL" sz="1200" spc="50" dirty="0"/>
              <a:t> first </a:t>
            </a:r>
            <a:r>
              <a:rPr lang="nl-NL" sz="1200" spc="50" dirty="0" err="1"/>
              <a:t>impression</a:t>
            </a:r>
            <a:r>
              <a:rPr lang="nl-NL" sz="1200" spc="50" dirty="0"/>
              <a:t> of </a:t>
            </a:r>
            <a:r>
              <a:rPr lang="nl-NL" sz="1200" spc="50" dirty="0" err="1"/>
              <a:t>the</a:t>
            </a:r>
            <a:r>
              <a:rPr lang="nl-NL" sz="1200" spc="50" dirty="0"/>
              <a:t> </a:t>
            </a:r>
            <a:r>
              <a:rPr lang="nl-NL" sz="1200" spc="50" dirty="0" err="1"/>
              <a:t>brands</a:t>
            </a:r>
            <a:endParaRPr lang="nl-NL" sz="1200" spc="5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Wingdings" panose="05000000000000000000" pitchFamily="2" charset="2"/>
              <a:buChar char="à"/>
            </a:pP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l" defTabSz="914400" rtl="0" eaLnBrk="1" latinLnBrk="0" hangingPunct="1">
              <a:lnSpc>
                <a:spcPct val="111000"/>
              </a:lnSpc>
            </a:pP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2470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/>
              <a:t>3. How?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5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799" y="1020726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200" b="1" spc="50" dirty="0">
                <a:solidFill>
                  <a:schemeClr val="tx1"/>
                </a:solidFill>
              </a:rPr>
              <a:t>How can we change current status? </a:t>
            </a:r>
            <a:endParaRPr lang="en-US" sz="1200" b="1" spc="50" baseline="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2DACB4-B74C-4ED0-8633-3C7BD8346277}"/>
              </a:ext>
            </a:extLst>
          </p:cNvPr>
          <p:cNvSpPr txBox="1"/>
          <p:nvPr/>
        </p:nvSpPr>
        <p:spPr>
          <a:xfrm>
            <a:off x="431799" y="1614669"/>
            <a:ext cx="11206019" cy="26648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14400" rtl="0" eaLnBrk="1" latinLnBrk="0" hangingPunct="1">
              <a:lnSpc>
                <a:spcPct val="111000"/>
              </a:lnSpc>
            </a:pPr>
            <a:r>
              <a:rPr lang="nl-NL" sz="1200" u="sng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rst steps</a:t>
            </a:r>
          </a:p>
          <a:p>
            <a:pPr algn="l" defTabSz="914400" rtl="0" eaLnBrk="1" latinLnBrk="0" hangingPunct="1">
              <a:lnSpc>
                <a:spcPct val="111000"/>
              </a:lnSpc>
            </a:pPr>
            <a:endParaRPr lang="nl-NL" sz="1200" u="sng" spc="5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cument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isting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cesses</a:t>
            </a: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 err="1"/>
              <a:t>Easier</a:t>
            </a:r>
            <a:r>
              <a:rPr lang="nl-NL" sz="1200" spc="50" dirty="0"/>
              <a:t> </a:t>
            </a:r>
            <a:r>
              <a:rPr lang="nl-NL" sz="1200" spc="50" dirty="0" err="1"/>
              <a:t>to</a:t>
            </a:r>
            <a:r>
              <a:rPr lang="nl-NL" sz="1200" spc="50" dirty="0"/>
              <a:t> </a:t>
            </a:r>
            <a:r>
              <a:rPr lang="nl-NL" sz="1200" spc="50" dirty="0" err="1"/>
              <a:t>read</a:t>
            </a:r>
            <a:r>
              <a:rPr lang="nl-NL" sz="1200" spc="50" dirty="0"/>
              <a:t>/check/</a:t>
            </a:r>
            <a:r>
              <a:rPr lang="nl-NL" sz="1200" spc="50" dirty="0" err="1"/>
              <a:t>analyze</a:t>
            </a:r>
            <a:endParaRPr lang="nl-NL" sz="1200" spc="50" dirty="0"/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asier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new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mers</a:t>
            </a:r>
            <a:r>
              <a:rPr lang="nl-NL" sz="1200" spc="50" dirty="0"/>
              <a:t> (</a:t>
            </a:r>
            <a:r>
              <a:rPr lang="nl-NL" sz="1200" spc="50" dirty="0" err="1"/>
              <a:t>future</a:t>
            </a:r>
            <a:r>
              <a:rPr lang="nl-NL" sz="1200" spc="50" dirty="0"/>
              <a:t>)</a:t>
            </a:r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asier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plementations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–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ganized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ing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low</a:t>
            </a:r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spc="50" dirty="0"/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 err="1"/>
              <a:t>Create</a:t>
            </a:r>
            <a:r>
              <a:rPr lang="nl-NL" sz="1200" spc="50" dirty="0"/>
              <a:t> </a:t>
            </a:r>
            <a:r>
              <a:rPr lang="nl-NL" sz="1200" spc="50" dirty="0" err="1"/>
              <a:t>and</a:t>
            </a:r>
            <a:r>
              <a:rPr lang="nl-NL" sz="1200" spc="50" dirty="0"/>
              <a:t> document non-</a:t>
            </a:r>
            <a:r>
              <a:rPr lang="nl-NL" sz="1200" spc="50" dirty="0" err="1"/>
              <a:t>existing</a:t>
            </a:r>
            <a:r>
              <a:rPr lang="nl-NL" sz="1200" spc="50" dirty="0"/>
              <a:t> </a:t>
            </a:r>
            <a:r>
              <a:rPr lang="nl-NL" sz="1200" spc="50" dirty="0" err="1"/>
              <a:t>processes</a:t>
            </a:r>
            <a:endParaRPr lang="nl-NL" sz="1200" spc="50" dirty="0"/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/>
              <a:t>(</a:t>
            </a:r>
            <a:r>
              <a:rPr lang="nl-NL" sz="1200" spc="50" dirty="0" err="1"/>
              <a:t>same</a:t>
            </a:r>
            <a:r>
              <a:rPr lang="nl-NL" sz="1200" spc="50" dirty="0"/>
              <a:t> as </a:t>
            </a:r>
            <a:r>
              <a:rPr lang="nl-NL" sz="1200" spc="50" dirty="0" err="1"/>
              <a:t>above</a:t>
            </a:r>
            <a:r>
              <a:rPr lang="nl-NL" sz="1200" spc="50" dirty="0"/>
              <a:t>)</a:t>
            </a:r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 err="1"/>
              <a:t>Explore</a:t>
            </a:r>
            <a:r>
              <a:rPr lang="nl-NL" sz="1200" spc="50" dirty="0"/>
              <a:t> new </a:t>
            </a:r>
            <a:r>
              <a:rPr lang="nl-NL" sz="1200" spc="50" dirty="0" err="1"/>
              <a:t>implementations</a:t>
            </a:r>
            <a:r>
              <a:rPr lang="nl-NL" sz="1200" spc="50" dirty="0"/>
              <a:t> </a:t>
            </a:r>
            <a:r>
              <a:rPr lang="nl-NL" sz="1200" spc="50" dirty="0" err="1"/>
              <a:t>easily</a:t>
            </a:r>
            <a:r>
              <a:rPr lang="nl-NL" sz="1200" spc="50" dirty="0"/>
              <a:t> </a:t>
            </a:r>
            <a:r>
              <a:rPr lang="nl-NL" sz="1200" spc="50" dirty="0" err="1"/>
              <a:t>and</a:t>
            </a:r>
            <a:r>
              <a:rPr lang="nl-NL" sz="1200" spc="50" dirty="0"/>
              <a:t> in </a:t>
            </a:r>
            <a:r>
              <a:rPr lang="nl-NL" sz="1200" spc="50" dirty="0" err="1"/>
              <a:t>deeper</a:t>
            </a:r>
            <a:r>
              <a:rPr lang="nl-NL" sz="1200" spc="50" dirty="0"/>
              <a:t> detail</a:t>
            </a:r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/>
              <a:t>New traffic </a:t>
            </a:r>
            <a:r>
              <a:rPr lang="nl-NL" sz="1200" spc="50" dirty="0" err="1"/>
              <a:t>KPIs</a:t>
            </a:r>
            <a:r>
              <a:rPr lang="nl-NL" sz="1200" spc="50" dirty="0"/>
              <a:t> </a:t>
            </a:r>
            <a:r>
              <a:rPr lang="nl-NL" sz="1200" spc="50" dirty="0" err="1"/>
              <a:t>can</a:t>
            </a:r>
            <a:r>
              <a:rPr lang="nl-NL" sz="1200" spc="50" dirty="0"/>
              <a:t> </a:t>
            </a:r>
            <a:r>
              <a:rPr lang="nl-NL" sz="1200" spc="50" dirty="0" err="1"/>
              <a:t>be</a:t>
            </a:r>
            <a:r>
              <a:rPr lang="nl-NL" sz="1200" spc="50" dirty="0"/>
              <a:t> </a:t>
            </a:r>
            <a:r>
              <a:rPr lang="nl-NL" sz="1200" spc="50" dirty="0" err="1"/>
              <a:t>created</a:t>
            </a:r>
            <a:endParaRPr lang="nl-NL" sz="1200" spc="50" dirty="0"/>
          </a:p>
          <a:p>
            <a:pPr>
              <a:lnSpc>
                <a:spcPct val="111000"/>
              </a:lnSpc>
            </a:pPr>
            <a:endParaRPr lang="nl-NL" sz="1200" spc="50" dirty="0"/>
          </a:p>
          <a:p>
            <a:pPr>
              <a:lnSpc>
                <a:spcPct val="111000"/>
              </a:lnSpc>
            </a:pPr>
            <a:r>
              <a:rPr lang="nl-NL" sz="1200" spc="50" dirty="0"/>
              <a:t>(</a:t>
            </a:r>
            <a:r>
              <a:rPr lang="nl-NL" sz="1200" spc="50" dirty="0" err="1"/>
              <a:t>see</a:t>
            </a:r>
            <a:r>
              <a:rPr lang="nl-NL" sz="1200" spc="50" dirty="0"/>
              <a:t> </a:t>
            </a:r>
            <a:r>
              <a:rPr lang="nl-NL" sz="1200" spc="50" dirty="0" err="1"/>
              <a:t>excel</a:t>
            </a:r>
            <a:r>
              <a:rPr lang="nl-NL" sz="1200" spc="50" dirty="0"/>
              <a:t> file as </a:t>
            </a:r>
            <a:r>
              <a:rPr lang="nl-NL" sz="1200" spc="50" dirty="0" err="1"/>
              <a:t>example</a:t>
            </a:r>
            <a:r>
              <a:rPr lang="nl-NL" sz="1200" spc="5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518032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/>
              <a:t>3. How?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6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799" y="1020726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200" b="1" spc="50" dirty="0">
                <a:solidFill>
                  <a:schemeClr val="tx1"/>
                </a:solidFill>
              </a:rPr>
              <a:t>How can we change current status? </a:t>
            </a:r>
            <a:endParaRPr lang="en-US" sz="1200" b="1" spc="50" baseline="0" dirty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DF6A80-A9C7-4607-A039-87E214BA2A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01" y="1517274"/>
            <a:ext cx="9877501" cy="43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0619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/>
              <a:t>4. When?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7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799" y="1020726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200" b="1" spc="50" dirty="0">
                <a:solidFill>
                  <a:schemeClr val="tx1"/>
                </a:solidFill>
              </a:rPr>
              <a:t>When shall this situation be tackled?</a:t>
            </a:r>
            <a:endParaRPr lang="en-US" sz="1200" b="1" spc="50" baseline="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2DACB4-B74C-4ED0-8633-3C7BD8346277}"/>
              </a:ext>
            </a:extLst>
          </p:cNvPr>
          <p:cNvSpPr txBox="1"/>
          <p:nvPr/>
        </p:nvSpPr>
        <p:spPr>
          <a:xfrm>
            <a:off x="431799" y="1614669"/>
            <a:ext cx="11206019" cy="22890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14400" rtl="0" eaLnBrk="1" latinLnBrk="0" hangingPunct="1">
              <a:lnSpc>
                <a:spcPct val="111000"/>
              </a:lnSpc>
            </a:pPr>
            <a:r>
              <a:rPr lang="nl-NL" sz="1400" i="1" spc="50" dirty="0"/>
              <a:t>The </a:t>
            </a:r>
            <a:r>
              <a:rPr lang="nl-NL" sz="1400" i="1" spc="50" dirty="0" err="1"/>
              <a:t>sooner</a:t>
            </a:r>
            <a:r>
              <a:rPr lang="nl-NL" sz="1400" i="1" spc="50" dirty="0"/>
              <a:t> </a:t>
            </a:r>
            <a:r>
              <a:rPr lang="nl-NL" sz="1400" i="1" spc="50" dirty="0" err="1"/>
              <a:t>the</a:t>
            </a:r>
            <a:r>
              <a:rPr lang="nl-NL" sz="1400" i="1" spc="50" dirty="0"/>
              <a:t> </a:t>
            </a:r>
            <a:r>
              <a:rPr lang="nl-NL" sz="1400" i="1" spc="50" dirty="0" err="1"/>
              <a:t>better</a:t>
            </a:r>
            <a:endParaRPr lang="nl-NL" sz="1400" i="1" spc="5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spc="5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/>
              <a:t>The </a:t>
            </a:r>
            <a:r>
              <a:rPr lang="nl-NL" sz="1200" spc="50" dirty="0" err="1"/>
              <a:t>sooner</a:t>
            </a:r>
            <a:r>
              <a:rPr lang="nl-NL" sz="1200" spc="50" dirty="0"/>
              <a:t> we start tracking data </a:t>
            </a:r>
            <a:r>
              <a:rPr lang="nl-NL" sz="1200" spc="50" dirty="0" err="1"/>
              <a:t>correctly</a:t>
            </a:r>
            <a:r>
              <a:rPr lang="nl-NL" sz="1200" spc="50" dirty="0"/>
              <a:t> </a:t>
            </a:r>
            <a:r>
              <a:rPr lang="nl-NL" sz="1200" spc="50" dirty="0" err="1"/>
              <a:t>the</a:t>
            </a:r>
            <a:r>
              <a:rPr lang="nl-NL" sz="1200" spc="50" dirty="0"/>
              <a:t> more data we </a:t>
            </a:r>
            <a:r>
              <a:rPr lang="nl-NL" sz="1200" spc="50" dirty="0" err="1"/>
              <a:t>will</a:t>
            </a:r>
            <a:r>
              <a:rPr lang="nl-NL" sz="1200" spc="50" dirty="0"/>
              <a:t> have in </a:t>
            </a:r>
            <a:r>
              <a:rPr lang="nl-NL" sz="1200" spc="50" dirty="0" err="1"/>
              <a:t>the</a:t>
            </a:r>
            <a:r>
              <a:rPr lang="nl-NL" sz="1200" spc="50" dirty="0"/>
              <a:t> </a:t>
            </a:r>
            <a:r>
              <a:rPr lang="nl-NL" sz="1200" spc="50" dirty="0" err="1"/>
              <a:t>future</a:t>
            </a:r>
            <a:endParaRPr lang="nl-NL" sz="1200" spc="5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spc="5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/>
              <a:t>Low investment </a:t>
            </a:r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 err="1"/>
              <a:t>Not</a:t>
            </a:r>
            <a:r>
              <a:rPr lang="nl-NL" sz="1200" spc="50" dirty="0"/>
              <a:t> </a:t>
            </a:r>
            <a:r>
              <a:rPr lang="nl-NL" sz="1200" spc="50" dirty="0" err="1"/>
              <a:t>much</a:t>
            </a:r>
            <a:r>
              <a:rPr lang="nl-NL" sz="1200" spc="50" dirty="0"/>
              <a:t> time is </a:t>
            </a:r>
            <a:r>
              <a:rPr lang="nl-NL" sz="1200" spc="50" dirty="0" err="1"/>
              <a:t>spent</a:t>
            </a:r>
            <a:r>
              <a:rPr lang="nl-NL" sz="1200" spc="50" dirty="0"/>
              <a:t> in </a:t>
            </a:r>
            <a:r>
              <a:rPr lang="nl-NL" sz="1200" spc="50" dirty="0" err="1"/>
              <a:t>the</a:t>
            </a:r>
            <a:r>
              <a:rPr lang="nl-NL" sz="1200" spc="50" dirty="0"/>
              <a:t> short term</a:t>
            </a:r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/>
              <a:t>In </a:t>
            </a:r>
            <a:r>
              <a:rPr lang="nl-NL" sz="1200" spc="50" dirty="0" err="1"/>
              <a:t>the</a:t>
            </a:r>
            <a:r>
              <a:rPr lang="nl-NL" sz="1200" spc="50" dirty="0"/>
              <a:t> medium/long term time is </a:t>
            </a:r>
            <a:r>
              <a:rPr lang="nl-NL" sz="1200" spc="50" dirty="0" err="1"/>
              <a:t>saved</a:t>
            </a:r>
            <a:endParaRPr lang="nl-NL" sz="1200" spc="50" dirty="0"/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spc="50" dirty="0"/>
          </a:p>
          <a:p>
            <a:pPr marL="228600" indent="-228600">
              <a:lnSpc>
                <a:spcPct val="111000"/>
              </a:lnSpc>
              <a:buAutoNum type="arabicPeriod"/>
            </a:pPr>
            <a:r>
              <a:rPr lang="nl-NL" sz="1200" spc="50" dirty="0" err="1"/>
              <a:t>Implementations</a:t>
            </a:r>
            <a:r>
              <a:rPr lang="nl-NL" sz="1200" spc="50" dirty="0"/>
              <a:t> </a:t>
            </a:r>
            <a:r>
              <a:rPr lang="nl-NL" sz="1200" spc="50" dirty="0" err="1"/>
              <a:t>done</a:t>
            </a:r>
            <a:r>
              <a:rPr lang="nl-NL" sz="1200" spc="50" dirty="0"/>
              <a:t> </a:t>
            </a:r>
            <a:r>
              <a:rPr lang="nl-NL" sz="1200" spc="50" dirty="0" err="1"/>
              <a:t>easily</a:t>
            </a:r>
            <a:endParaRPr lang="nl-NL" sz="1200" spc="50" dirty="0"/>
          </a:p>
          <a:p>
            <a:pPr marL="228600" indent="-228600">
              <a:lnSpc>
                <a:spcPct val="111000"/>
              </a:lnSpc>
              <a:buAutoNum type="arabicPeriod"/>
            </a:pPr>
            <a:r>
              <a:rPr lang="nl-NL" sz="1200" spc="50" dirty="0"/>
              <a:t>No time </a:t>
            </a:r>
            <a:r>
              <a:rPr lang="nl-NL" sz="1200" spc="50" dirty="0" err="1"/>
              <a:t>spent</a:t>
            </a:r>
            <a:r>
              <a:rPr lang="nl-NL" sz="1200" spc="50" dirty="0"/>
              <a:t> on </a:t>
            </a:r>
            <a:r>
              <a:rPr lang="nl-NL" sz="1200" spc="50" dirty="0" err="1"/>
              <a:t>searching</a:t>
            </a:r>
            <a:r>
              <a:rPr lang="nl-NL" sz="1200" spc="50" dirty="0"/>
              <a:t> (</a:t>
            </a:r>
            <a:r>
              <a:rPr lang="nl-NL" sz="1200" spc="50" dirty="0" err="1"/>
              <a:t>both</a:t>
            </a:r>
            <a:r>
              <a:rPr lang="nl-NL" sz="1200" spc="50" dirty="0"/>
              <a:t> </a:t>
            </a:r>
            <a:r>
              <a:rPr lang="nl-NL" sz="1200" spc="50" dirty="0" err="1"/>
              <a:t>for</a:t>
            </a:r>
            <a:r>
              <a:rPr lang="nl-NL" sz="1200" spc="50" dirty="0"/>
              <a:t> analysis as well as </a:t>
            </a:r>
            <a:r>
              <a:rPr lang="nl-NL" sz="1200" spc="50" dirty="0" err="1"/>
              <a:t>for</a:t>
            </a:r>
            <a:r>
              <a:rPr lang="nl-NL" sz="1200" spc="50" dirty="0"/>
              <a:t> </a:t>
            </a:r>
            <a:r>
              <a:rPr lang="nl-NL" sz="1200" spc="50" dirty="0" err="1"/>
              <a:t>other</a:t>
            </a:r>
            <a:r>
              <a:rPr lang="nl-NL" sz="1200" spc="50" dirty="0"/>
              <a:t> procedures </a:t>
            </a:r>
            <a:r>
              <a:rPr lang="nl-NL" sz="1200" spc="50" dirty="0" err="1"/>
              <a:t>that</a:t>
            </a:r>
            <a:r>
              <a:rPr lang="nl-NL" sz="1200" spc="50" dirty="0"/>
              <a:t> </a:t>
            </a:r>
            <a:r>
              <a:rPr lang="nl-NL" sz="1200" spc="50" dirty="0" err="1"/>
              <a:t>require</a:t>
            </a:r>
            <a:r>
              <a:rPr lang="nl-NL" sz="1200" spc="50" dirty="0"/>
              <a:t> </a:t>
            </a:r>
            <a:r>
              <a:rPr lang="nl-NL" sz="1200" spc="50" dirty="0" err="1"/>
              <a:t>understand</a:t>
            </a:r>
            <a:r>
              <a:rPr lang="nl-NL" sz="1200" spc="50" dirty="0"/>
              <a:t> </a:t>
            </a:r>
            <a:r>
              <a:rPr lang="nl-NL" sz="1200" spc="50" dirty="0" err="1"/>
              <a:t>the</a:t>
            </a:r>
            <a:r>
              <a:rPr lang="nl-NL" sz="1200" spc="50" dirty="0"/>
              <a:t> tracking </a:t>
            </a:r>
            <a:r>
              <a:rPr lang="nl-NL" sz="1200" spc="50" dirty="0" err="1"/>
              <a:t>process</a:t>
            </a:r>
            <a:r>
              <a:rPr lang="nl-NL" sz="1200" spc="50" dirty="0"/>
              <a:t>)</a:t>
            </a:r>
          </a:p>
          <a:p>
            <a:pPr marL="228600" indent="-228600">
              <a:lnSpc>
                <a:spcPct val="111000"/>
              </a:lnSpc>
              <a:buAutoNum type="arabicPeriod"/>
            </a:pPr>
            <a:r>
              <a:rPr lang="nl-NL" sz="1200" spc="50" dirty="0"/>
              <a:t>Analysis </a:t>
            </a:r>
            <a:r>
              <a:rPr lang="nl-NL" sz="1200" spc="50" dirty="0" err="1"/>
              <a:t>will</a:t>
            </a:r>
            <a:r>
              <a:rPr lang="nl-NL" sz="1200" spc="50" dirty="0"/>
              <a:t> </a:t>
            </a:r>
            <a:r>
              <a:rPr lang="nl-NL" sz="1200" spc="50" dirty="0" err="1"/>
              <a:t>be</a:t>
            </a:r>
            <a:r>
              <a:rPr lang="nl-NL" sz="1200" spc="50" dirty="0"/>
              <a:t> more </a:t>
            </a:r>
            <a:r>
              <a:rPr lang="nl-NL" sz="1200" spc="50" dirty="0" err="1"/>
              <a:t>trustworthy</a:t>
            </a:r>
            <a:r>
              <a:rPr lang="nl-NL" sz="1200" spc="50" dirty="0"/>
              <a:t>, </a:t>
            </a:r>
            <a:r>
              <a:rPr lang="nl-NL" sz="1200" spc="50" dirty="0" err="1"/>
              <a:t>deeper</a:t>
            </a:r>
            <a:r>
              <a:rPr lang="nl-NL" sz="1200" spc="50" dirty="0"/>
              <a:t> level of detail </a:t>
            </a:r>
            <a:r>
              <a:rPr lang="nl-NL" sz="1200" spc="50" dirty="0" err="1"/>
              <a:t>and</a:t>
            </a:r>
            <a:r>
              <a:rPr lang="nl-NL" sz="1200" spc="50" dirty="0"/>
              <a:t> </a:t>
            </a:r>
            <a:r>
              <a:rPr lang="nl-NL" sz="1200" spc="50" dirty="0" err="1"/>
              <a:t>done</a:t>
            </a:r>
            <a:r>
              <a:rPr lang="nl-NL" sz="1200" spc="50" dirty="0"/>
              <a:t> </a:t>
            </a:r>
            <a:r>
              <a:rPr lang="nl-NL" sz="1200" spc="50" dirty="0" err="1"/>
              <a:t>faster</a:t>
            </a:r>
            <a:endParaRPr lang="nl-NL" sz="1200" spc="50" dirty="0"/>
          </a:p>
        </p:txBody>
      </p:sp>
    </p:spTree>
    <p:extLst>
      <p:ext uri="{BB962C8B-B14F-4D97-AF65-F5344CB8AC3E}">
        <p14:creationId xmlns:p14="http://schemas.microsoft.com/office/powerpoint/2010/main" val="27948659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/>
              <a:t>5. Future? </a:t>
            </a:r>
          </a:p>
          <a:p>
            <a:r>
              <a:rPr lang="en-US" cap="none" dirty="0"/>
              <a:t>Better, more detailed and trustful source of data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8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799" y="1020726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200" b="1" spc="50" dirty="0">
                <a:solidFill>
                  <a:schemeClr val="tx1"/>
                </a:solidFill>
              </a:rPr>
              <a:t>How would the future situation look like</a:t>
            </a:r>
            <a:endParaRPr lang="en-US" sz="1200" b="1" spc="50" baseline="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ED4A8F-A91F-413D-9858-46C1EE81A0DA}"/>
              </a:ext>
            </a:extLst>
          </p:cNvPr>
          <p:cNvSpPr txBox="1"/>
          <p:nvPr/>
        </p:nvSpPr>
        <p:spPr>
          <a:xfrm>
            <a:off x="563418" y="1625600"/>
            <a:ext cx="10917382" cy="26648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/>
              <a:t>Analysis </a:t>
            </a:r>
            <a:r>
              <a:rPr lang="nl-NL" sz="1200" spc="50" dirty="0" err="1"/>
              <a:t>with</a:t>
            </a:r>
            <a:r>
              <a:rPr lang="nl-NL" sz="1200" spc="50" dirty="0"/>
              <a:t> </a:t>
            </a:r>
            <a:r>
              <a:rPr lang="nl-NL" sz="1200" spc="50" dirty="0" err="1"/>
              <a:t>deeper</a:t>
            </a:r>
            <a:r>
              <a:rPr lang="nl-NL" sz="1200" spc="50" dirty="0"/>
              <a:t> level of detail </a:t>
            </a:r>
            <a:r>
              <a:rPr lang="nl-NL" sz="1200" spc="50" dirty="0" err="1"/>
              <a:t>allow</a:t>
            </a:r>
            <a:r>
              <a:rPr lang="nl-NL" sz="1200" spc="50" dirty="0"/>
              <a:t> </a:t>
            </a:r>
            <a:r>
              <a:rPr lang="nl-NL" sz="1200" spc="50" dirty="0" err="1"/>
              <a:t>us</a:t>
            </a:r>
            <a:r>
              <a:rPr lang="nl-NL" sz="1200" spc="50" dirty="0"/>
              <a:t> </a:t>
            </a:r>
            <a:r>
              <a:rPr lang="nl-NL" sz="1200" spc="50" dirty="0" err="1"/>
              <a:t>to</a:t>
            </a:r>
            <a:r>
              <a:rPr lang="nl-NL" sz="1200" spc="50" dirty="0"/>
              <a:t> tackle </a:t>
            </a:r>
            <a:r>
              <a:rPr lang="nl-NL" sz="1200" spc="50" dirty="0" err="1"/>
              <a:t>the</a:t>
            </a:r>
            <a:r>
              <a:rPr lang="nl-NL" sz="1200" spc="50" dirty="0"/>
              <a:t> issues </a:t>
            </a:r>
            <a:r>
              <a:rPr lang="nl-NL" sz="1200" spc="50" dirty="0" err="1"/>
              <a:t>faster</a:t>
            </a:r>
            <a:r>
              <a:rPr lang="nl-NL" sz="1200" spc="50" dirty="0"/>
              <a:t> </a:t>
            </a:r>
            <a:r>
              <a:rPr lang="nl-NL" sz="1200" spc="50" dirty="0" err="1"/>
              <a:t>and</a:t>
            </a:r>
            <a:r>
              <a:rPr lang="nl-NL" sz="1200" spc="50" dirty="0"/>
              <a:t> right in </a:t>
            </a:r>
            <a:r>
              <a:rPr lang="nl-NL" sz="1200" spc="50" dirty="0" err="1"/>
              <a:t>the</a:t>
            </a:r>
            <a:r>
              <a:rPr lang="nl-NL" sz="1200" spc="50" dirty="0"/>
              <a:t> source</a:t>
            </a: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bsite performance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n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sed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customer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urney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–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timiz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ser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erienc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ould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in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goal</a:t>
            </a: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spc="5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urrently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t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y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alysis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r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ade but 2 of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quarter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goals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m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os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alysis.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l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os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blems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ound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ckled</a:t>
            </a:r>
            <a:r>
              <a:rPr lang="nl-NL" sz="1200" spc="50" dirty="0"/>
              <a:t>.</a:t>
            </a:r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/>
              <a:t>More traffic data, new </a:t>
            </a:r>
            <a:r>
              <a:rPr lang="nl-NL" sz="1200" spc="50" dirty="0" err="1"/>
              <a:t>KPIs</a:t>
            </a:r>
            <a:endParaRPr lang="nl-NL" sz="1200" spc="50" dirty="0"/>
          </a:p>
          <a:p>
            <a:pPr marL="171450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ct val="111000"/>
              </a:lnSpc>
            </a:pPr>
            <a:r>
              <a:rPr lang="nl-NL" sz="1200" spc="50" dirty="0"/>
              <a:t>No big investment </a:t>
            </a:r>
            <a:r>
              <a:rPr lang="nl-NL" sz="1200" spc="50" dirty="0">
                <a:sym typeface="Wingdings" panose="05000000000000000000" pitchFamily="2" charset="2"/>
              </a:rPr>
              <a:t> big </a:t>
            </a:r>
            <a:r>
              <a:rPr lang="nl-NL" sz="1200" spc="50" dirty="0" err="1">
                <a:sym typeface="Wingdings" panose="05000000000000000000" pitchFamily="2" charset="2"/>
              </a:rPr>
              <a:t>gains</a:t>
            </a:r>
            <a:endParaRPr lang="nl-NL" sz="1200" spc="50" dirty="0">
              <a:sym typeface="Wingdings" panose="05000000000000000000" pitchFamily="2" charset="2"/>
            </a:endParaRPr>
          </a:p>
          <a:p>
            <a:pPr>
              <a:lnSpc>
                <a:spcPct val="111000"/>
              </a:lnSpc>
            </a:pP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  <a:p>
            <a:pPr>
              <a:lnSpc>
                <a:spcPct val="111000"/>
              </a:lnSpc>
            </a:pPr>
            <a:r>
              <a:rPr lang="nl-NL" sz="1200" spc="50" dirty="0" err="1">
                <a:sym typeface="Wingdings" panose="05000000000000000000" pitchFamily="2" charset="2"/>
              </a:rPr>
              <a:t>Examples</a:t>
            </a:r>
            <a:r>
              <a:rPr lang="nl-NL" sz="1200" spc="50" dirty="0">
                <a:sym typeface="Wingdings" panose="05000000000000000000" pitchFamily="2" charset="2"/>
              </a:rPr>
              <a:t>:</a:t>
            </a:r>
          </a:p>
          <a:p>
            <a:pPr>
              <a:lnSpc>
                <a:spcPct val="111000"/>
              </a:lnSpc>
            </a:pP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  <a:p>
            <a:pPr>
              <a:lnSpc>
                <a:spcPct val="111000"/>
              </a:lnSpc>
            </a:pPr>
            <a:endParaRPr lang="nl-NL" sz="1200" spc="50" dirty="0">
              <a:sym typeface="Wingdings" panose="05000000000000000000" pitchFamily="2" charset="2"/>
            </a:endParaRPr>
          </a:p>
          <a:p>
            <a:pPr>
              <a:lnSpc>
                <a:spcPct val="111000"/>
              </a:lnSpc>
            </a:pP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…</a:t>
            </a: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39855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/>
              <a:t>6. Vis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9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799" y="1020726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200" b="1" spc="50" baseline="0" dirty="0">
                <a:solidFill>
                  <a:schemeClr val="tx1"/>
                </a:solidFill>
              </a:rPr>
              <a:t>Bestsell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ED4A8F-A91F-413D-9858-46C1EE81A0DA}"/>
              </a:ext>
            </a:extLst>
          </p:cNvPr>
          <p:cNvSpPr txBox="1"/>
          <p:nvPr/>
        </p:nvSpPr>
        <p:spPr>
          <a:xfrm>
            <a:off x="563418" y="1625600"/>
            <a:ext cx="10917382" cy="1434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active</a:t>
            </a: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pproach</a:t>
            </a:r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spc="50" dirty="0"/>
          </a:p>
          <a:p>
            <a:pPr marL="171450" indent="-171450" algn="l" defTabSz="914400" rtl="0" eaLnBrk="1" latinLnBrk="0" hangingPunct="1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spc="50" dirty="0"/>
              <a:t>Take actions + </a:t>
            </a:r>
            <a:r>
              <a:rPr lang="nl-NL" sz="1200" spc="50" dirty="0" err="1"/>
              <a:t>be</a:t>
            </a:r>
            <a:r>
              <a:rPr lang="nl-NL" sz="1200" spc="50" dirty="0"/>
              <a:t> </a:t>
            </a:r>
            <a:r>
              <a:rPr lang="nl-NL" sz="1200" spc="50" dirty="0" err="1"/>
              <a:t>able</a:t>
            </a:r>
            <a:r>
              <a:rPr lang="nl-NL" sz="1200" spc="50" dirty="0"/>
              <a:t> </a:t>
            </a:r>
            <a:r>
              <a:rPr lang="nl-NL" sz="1200" spc="50" dirty="0" err="1"/>
              <a:t>to</a:t>
            </a:r>
            <a:r>
              <a:rPr lang="nl-NL" sz="1200" spc="50" dirty="0"/>
              <a:t> make </a:t>
            </a:r>
            <a:r>
              <a:rPr lang="nl-NL" sz="1200" spc="50" dirty="0" err="1"/>
              <a:t>decisions</a:t>
            </a:r>
            <a:r>
              <a:rPr lang="nl-NL" sz="1200" spc="50" dirty="0"/>
              <a:t> </a:t>
            </a:r>
            <a:r>
              <a:rPr lang="nl-NL" sz="1200" spc="50" dirty="0" err="1"/>
              <a:t>based</a:t>
            </a:r>
            <a:r>
              <a:rPr lang="nl-NL" sz="1200" spc="50" dirty="0"/>
              <a:t> on:</a:t>
            </a:r>
          </a:p>
          <a:p>
            <a:pPr algn="l" defTabSz="914400" rtl="0" eaLnBrk="1" latinLnBrk="0" hangingPunct="1">
              <a:lnSpc>
                <a:spcPct val="111000"/>
              </a:lnSpc>
            </a:pPr>
            <a:endParaRPr lang="nl-NL" sz="1200" spc="50" dirty="0"/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</a:t>
            </a:r>
            <a:r>
              <a:rPr lang="nl-NL" sz="1200" spc="50" dirty="0" err="1"/>
              <a:t>nowledge</a:t>
            </a:r>
            <a:endParaRPr lang="nl-NL" sz="1200" spc="50" dirty="0"/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endParaRPr lang="nl-NL" sz="1200" spc="50" dirty="0"/>
          </a:p>
          <a:p>
            <a:pPr marL="628650" lvl="1" indent="-171450">
              <a:lnSpc>
                <a:spcPct val="111000"/>
              </a:lnSpc>
              <a:buFont typeface="Arial" panose="020B0604020202020204" pitchFamily="34" charset="0"/>
              <a:buChar char="•"/>
            </a:pP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ust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E5E578B-8864-4561-9E15-332D3A02CC56}"/>
              </a:ext>
            </a:extLst>
          </p:cNvPr>
          <p:cNvCxnSpPr/>
          <p:nvPr/>
        </p:nvCxnSpPr>
        <p:spPr>
          <a:xfrm>
            <a:off x="2299855" y="2540000"/>
            <a:ext cx="1865745" cy="350982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0686DF6-77FA-4B2B-8716-3AE154F1D4FA}"/>
              </a:ext>
            </a:extLst>
          </p:cNvPr>
          <p:cNvCxnSpPr>
            <a:cxnSpLocks/>
          </p:cNvCxnSpPr>
          <p:nvPr/>
        </p:nvCxnSpPr>
        <p:spPr>
          <a:xfrm>
            <a:off x="1736436" y="2890982"/>
            <a:ext cx="2429164" cy="83127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5F990812-88A1-46D4-8965-BF4E856520A1}"/>
              </a:ext>
            </a:extLst>
          </p:cNvPr>
          <p:cNvSpPr/>
          <p:nvPr/>
        </p:nvSpPr>
        <p:spPr>
          <a:xfrm>
            <a:off x="4583292" y="2678546"/>
            <a:ext cx="175080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ata</a:t>
            </a:r>
            <a:endParaRPr lang="en-US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71589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estseller">
      <a:dk1>
        <a:sysClr val="windowText" lastClr="000000"/>
      </a:dk1>
      <a:lt1>
        <a:sysClr val="window" lastClr="FFFFFF"/>
      </a:lt1>
      <a:dk2>
        <a:srgbClr val="707174"/>
      </a:dk2>
      <a:lt2>
        <a:srgbClr val="E2E1DC"/>
      </a:lt2>
      <a:accent1>
        <a:srgbClr val="929395"/>
      </a:accent1>
      <a:accent2>
        <a:srgbClr val="B0B0AE"/>
      </a:accent2>
      <a:accent3>
        <a:srgbClr val="DAB221"/>
      </a:accent3>
      <a:accent4>
        <a:srgbClr val="7C363C"/>
      </a:accent4>
      <a:accent5>
        <a:srgbClr val="6B734B"/>
      </a:accent5>
      <a:accent6>
        <a:srgbClr val="0F3B64"/>
      </a:accent6>
      <a:hlink>
        <a:srgbClr val="0000FF"/>
      </a:hlink>
      <a:folHlink>
        <a:srgbClr val="800080"/>
      </a:folHlink>
    </a:clrScheme>
    <a:fontScheme name="BESTSELLER">
      <a:majorFont>
        <a:latin typeface="Adelle BS Office"/>
        <a:ea typeface=""/>
        <a:cs typeface=""/>
      </a:majorFont>
      <a:minorFont>
        <a:latin typeface="Adelle B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rgbClr val="929395"/>
          </a:solidFill>
        </a:ln>
      </a:spPr>
      <a:bodyPr rtlCol="0" anchor="ctr"/>
      <a:lstStyle>
        <a:defPPr algn="ctr">
          <a:lnSpc>
            <a:spcPct val="111000"/>
          </a:lnSpc>
          <a:defRPr sz="1200" spc="50" baseline="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algn="l" defTabSz="914400" rtl="0" eaLnBrk="1" latinLnBrk="0" hangingPunct="1">
          <a:lnSpc>
            <a:spcPct val="111000"/>
          </a:lnSpc>
          <a:defRPr sz="1200" kern="1200" spc="50" baseline="0" noProof="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6BC78AB-4598-4033-8E95-ED3ED065A979}" vid="{AD890E13-6A38-4A2F-9E27-1EAC61933A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375</TotalTime>
  <Words>597</Words>
  <Application>Microsoft Office PowerPoint</Application>
  <PresentationFormat>Widescreen</PresentationFormat>
  <Paragraphs>114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delle BS</vt:lpstr>
      <vt:lpstr>Adelle BS Office</vt:lpstr>
      <vt:lpstr>Arial</vt:lpstr>
      <vt:lpstr>Arial Black</vt:lpstr>
      <vt:lpstr>Calibri</vt:lpstr>
      <vt:lpstr>Wingdings</vt:lpstr>
      <vt:lpstr>Blank</vt:lpstr>
      <vt:lpstr>think-cell Slide</vt:lpstr>
      <vt:lpstr>templa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estseller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cel.kilgenstein</dc:creator>
  <cp:lastModifiedBy>Tiago Pimentel</cp:lastModifiedBy>
  <cp:revision>240</cp:revision>
  <cp:lastPrinted>2015-07-06T15:22:29Z</cp:lastPrinted>
  <dcterms:created xsi:type="dcterms:W3CDTF">2015-06-23T14:37:59Z</dcterms:created>
  <dcterms:modified xsi:type="dcterms:W3CDTF">2018-04-02T13:5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</Properties>
</file>